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0000"/>
    <a:srgbClr val="E99E09"/>
    <a:srgbClr val="0D65AC"/>
    <a:srgbClr val="2A9B18"/>
    <a:srgbClr val="F0B71F"/>
    <a:srgbClr val="CE202A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87" autoAdjust="0"/>
    <p:restoredTop sz="94660" autoAdjust="0"/>
  </p:normalViewPr>
  <p:slideViewPr>
    <p:cSldViewPr snapToGrid="0">
      <p:cViewPr>
        <p:scale>
          <a:sx n="91" d="100"/>
          <a:sy n="91" d="100"/>
        </p:scale>
        <p:origin x="-2214" y="-618"/>
      </p:cViewPr>
      <p:guideLst>
        <p:guide orient="horz" pos="2160"/>
        <p:guide orient="horz" pos="979"/>
        <p:guide orient="horz" pos="3667"/>
        <p:guide pos="2880"/>
        <p:guide pos="211"/>
        <p:guide pos="55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ABCAC-0337-4627-BBB7-BF189B8EDA90}" type="datetimeFigureOut">
              <a:rPr lang="en-US" smtClean="0"/>
              <a:t>12/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6611E-B935-47DE-996F-C272FBE23A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4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018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5" name="Group 1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 noChangeArrowheads="1"/>
          </p:cNvSpPr>
          <p:nvPr/>
        </p:nvSpPr>
        <p:spPr bwMode="auto">
          <a:xfrm>
            <a:off x="647700" y="4216400"/>
            <a:ext cx="7912100" cy="1168400"/>
          </a:xfrm>
          <a:prstGeom prst="roundRect">
            <a:avLst>
              <a:gd name="adj" fmla="val 5986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10287" dir="5400000" rotWithShape="0">
              <a:srgbClr val="BFBFBF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647700" y="1752600"/>
            <a:ext cx="7912100" cy="1168400"/>
          </a:xfrm>
          <a:prstGeom prst="roundRect">
            <a:avLst>
              <a:gd name="adj" fmla="val 5986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10287" dir="5400000" rotWithShape="0">
              <a:srgbClr val="BFBFBF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Donut 6"/>
          <p:cNvSpPr>
            <a:spLocks/>
          </p:cNvSpPr>
          <p:nvPr/>
        </p:nvSpPr>
        <p:spPr bwMode="auto">
          <a:xfrm rot="2700000">
            <a:off x="2578100" y="1546225"/>
            <a:ext cx="4013200" cy="4013200"/>
          </a:xfrm>
          <a:custGeom>
            <a:avLst/>
            <a:gdLst>
              <a:gd name="T0" fmla="*/ 0 w 4013200"/>
              <a:gd name="T1" fmla="*/ 2006600 h 4013200"/>
              <a:gd name="T2" fmla="*/ 2006600 w 4013200"/>
              <a:gd name="T3" fmla="*/ 0 h 4013200"/>
              <a:gd name="T4" fmla="*/ 4013200 w 4013200"/>
              <a:gd name="T5" fmla="*/ 2006600 h 4013200"/>
              <a:gd name="T6" fmla="*/ 2006600 w 4013200"/>
              <a:gd name="T7" fmla="*/ 4013200 h 4013200"/>
              <a:gd name="T8" fmla="*/ 0 w 4013200"/>
              <a:gd name="T9" fmla="*/ 2006600 h 4013200"/>
              <a:gd name="T10" fmla="*/ 733011 w 4013200"/>
              <a:gd name="T11" fmla="*/ 2006600 h 4013200"/>
              <a:gd name="T12" fmla="*/ 2006600 w 4013200"/>
              <a:gd name="T13" fmla="*/ 3280189 h 4013200"/>
              <a:gd name="T14" fmla="*/ 3280189 w 4013200"/>
              <a:gd name="T15" fmla="*/ 2006600 h 4013200"/>
              <a:gd name="T16" fmla="*/ 2006600 w 4013200"/>
              <a:gd name="T17" fmla="*/ 733011 h 4013200"/>
              <a:gd name="T18" fmla="*/ 733011 w 4013200"/>
              <a:gd name="T19" fmla="*/ 2006600 h 40132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13200" h="4013200">
                <a:moveTo>
                  <a:pt x="0" y="2006600"/>
                </a:moveTo>
                <a:cubicBezTo>
                  <a:pt x="0" y="898385"/>
                  <a:pt x="898385" y="0"/>
                  <a:pt x="2006600" y="0"/>
                </a:cubicBezTo>
                <a:cubicBezTo>
                  <a:pt x="3114815" y="0"/>
                  <a:pt x="4013200" y="898385"/>
                  <a:pt x="4013200" y="2006600"/>
                </a:cubicBezTo>
                <a:cubicBezTo>
                  <a:pt x="4013200" y="3114815"/>
                  <a:pt x="3114815" y="4013200"/>
                  <a:pt x="2006600" y="4013200"/>
                </a:cubicBezTo>
                <a:cubicBezTo>
                  <a:pt x="898385" y="4013200"/>
                  <a:pt x="0" y="3114815"/>
                  <a:pt x="0" y="2006600"/>
                </a:cubicBezTo>
                <a:close/>
                <a:moveTo>
                  <a:pt x="733011" y="2006600"/>
                </a:moveTo>
                <a:cubicBezTo>
                  <a:pt x="733011" y="2709984"/>
                  <a:pt x="1303216" y="3280189"/>
                  <a:pt x="2006600" y="3280189"/>
                </a:cubicBezTo>
                <a:cubicBezTo>
                  <a:pt x="2709984" y="3280189"/>
                  <a:pt x="3280189" y="2709984"/>
                  <a:pt x="3280189" y="2006600"/>
                </a:cubicBezTo>
                <a:cubicBezTo>
                  <a:pt x="3280189" y="1303216"/>
                  <a:pt x="2709984" y="733011"/>
                  <a:pt x="2006600" y="733011"/>
                </a:cubicBezTo>
                <a:cubicBezTo>
                  <a:pt x="1303216" y="733011"/>
                  <a:pt x="733011" y="1303216"/>
                  <a:pt x="733011" y="200660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>
            <a:solidFill>
              <a:srgbClr val="4A7EBB"/>
            </a:solidFill>
            <a:prstDash val="solid"/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13317" name="TextBox 129"/>
          <p:cNvSpPr txBox="1">
            <a:spLocks noChangeArrowheads="1"/>
          </p:cNvSpPr>
          <p:nvPr/>
        </p:nvSpPr>
        <p:spPr bwMode="auto">
          <a:xfrm>
            <a:off x="723900" y="4279900"/>
            <a:ext cx="2298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3318" name="TextBox 130"/>
          <p:cNvSpPr txBox="1">
            <a:spLocks noChangeArrowheads="1"/>
          </p:cNvSpPr>
          <p:nvPr/>
        </p:nvSpPr>
        <p:spPr bwMode="auto">
          <a:xfrm>
            <a:off x="6591300" y="4279900"/>
            <a:ext cx="2298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3319" name="TextBox 125"/>
          <p:cNvSpPr txBox="1">
            <a:spLocks noChangeArrowheads="1"/>
          </p:cNvSpPr>
          <p:nvPr/>
        </p:nvSpPr>
        <p:spPr bwMode="auto">
          <a:xfrm>
            <a:off x="723900" y="1816100"/>
            <a:ext cx="2298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3320" name="TextBox 126"/>
          <p:cNvSpPr txBox="1">
            <a:spLocks noChangeArrowheads="1"/>
          </p:cNvSpPr>
          <p:nvPr/>
        </p:nvSpPr>
        <p:spPr bwMode="auto">
          <a:xfrm>
            <a:off x="6591300" y="1816100"/>
            <a:ext cx="2298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grpSp>
        <p:nvGrpSpPr>
          <p:cNvPr id="13321" name="Gruppe 101"/>
          <p:cNvGrpSpPr>
            <a:grpSpLocks/>
          </p:cNvGrpSpPr>
          <p:nvPr/>
        </p:nvGrpSpPr>
        <p:grpSpPr bwMode="auto">
          <a:xfrm rot="8100000">
            <a:off x="2717800" y="1651000"/>
            <a:ext cx="1270000" cy="1290638"/>
            <a:chOff x="4037436" y="494390"/>
            <a:chExt cx="1069127" cy="1085756"/>
          </a:xfrm>
        </p:grpSpPr>
        <p:sp>
          <p:nvSpPr>
            <p:cNvPr id="13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5" name="Måne 111"/>
            <p:cNvSpPr/>
            <p:nvPr/>
          </p:nvSpPr>
          <p:spPr bwMode="auto">
            <a:xfrm rot="16045033">
              <a:off x="4406000" y="918860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3322" name="Group 47"/>
          <p:cNvGrpSpPr>
            <a:grpSpLocks/>
          </p:cNvGrpSpPr>
          <p:nvPr/>
        </p:nvGrpSpPr>
        <p:grpSpPr bwMode="auto">
          <a:xfrm rot="-216725">
            <a:off x="3708400" y="2632075"/>
            <a:ext cx="1778000" cy="1843088"/>
            <a:chOff x="3571734" y="2493169"/>
            <a:chExt cx="1818619" cy="1882967"/>
          </a:xfrm>
        </p:grpSpPr>
        <p:sp>
          <p:nvSpPr>
            <p:cNvPr id="13351" name="Tekstboks 22"/>
            <p:cNvSpPr txBox="1">
              <a:spLocks noChangeArrowheads="1"/>
            </p:cNvSpPr>
            <p:nvPr/>
          </p:nvSpPr>
          <p:spPr bwMode="auto">
            <a:xfrm>
              <a:off x="4331140" y="3420368"/>
              <a:ext cx="864339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 sz="1500" b="1">
                  <a:solidFill>
                    <a:schemeClr val="bg2"/>
                  </a:solidFill>
                </a:rPr>
                <a:t>RIVALRY</a:t>
              </a:r>
            </a:p>
          </p:txBody>
        </p:sp>
        <p:sp>
          <p:nvSpPr>
            <p:cNvPr id="18" name="Ellipse 30"/>
            <p:cNvSpPr/>
            <p:nvPr/>
          </p:nvSpPr>
          <p:spPr bwMode="auto">
            <a:xfrm rot="4534327" flipH="1">
              <a:off x="3537520" y="2527383"/>
              <a:ext cx="1882967" cy="1814540"/>
            </a:xfrm>
            <a:prstGeom prst="ellipse">
              <a:avLst/>
            </a:prstGeom>
            <a:gradFill flip="none" rotWithShape="1">
              <a:gsLst>
                <a:gs pos="100000">
                  <a:srgbClr val="2A9B18">
                    <a:lumMod val="87000"/>
                  </a:srgbClr>
                </a:gs>
                <a:gs pos="0">
                  <a:srgbClr val="2A9B18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269875" dist="114300" dir="5640000">
                <a:srgbClr val="000000">
                  <a:alpha val="13000"/>
                </a:srgbClr>
              </a:innerShdw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077" name="Ellipse 31"/>
            <p:cNvSpPr>
              <a:spLocks noChangeArrowheads="1"/>
            </p:cNvSpPr>
            <p:nvPr/>
          </p:nvSpPr>
          <p:spPr bwMode="auto">
            <a:xfrm flipH="1">
              <a:off x="3818613" y="2557220"/>
              <a:ext cx="1333449" cy="1020716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40000"/>
                  </a:srgbClr>
                </a:gs>
                <a:gs pos="67000">
                  <a:srgbClr val="FFFFFF">
                    <a:alpha val="0"/>
                  </a:srgbClr>
                </a:gs>
              </a:gsLst>
              <a:lin ang="54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342900" indent="-342900" algn="ctr">
                <a:buFont typeface="Calibri" pitchFamily="-109" charset="0"/>
                <a:buAutoNum type="arabicPeriod"/>
                <a:defRPr/>
              </a:pPr>
              <a:endParaRPr lang="nb-NO">
                <a:solidFill>
                  <a:srgbClr val="FFFFFF"/>
                </a:solidFill>
              </a:endParaRPr>
            </a:p>
          </p:txBody>
        </p:sp>
        <p:sp>
          <p:nvSpPr>
            <p:cNvPr id="20" name="Måne 29"/>
            <p:cNvSpPr/>
            <p:nvPr/>
          </p:nvSpPr>
          <p:spPr bwMode="auto">
            <a:xfrm rot="5029289" flipH="1">
              <a:off x="4100417" y="3060500"/>
              <a:ext cx="852586" cy="1727286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035" name="Gruppe 101"/>
          <p:cNvGrpSpPr>
            <a:grpSpLocks/>
          </p:cNvGrpSpPr>
          <p:nvPr/>
        </p:nvGrpSpPr>
        <p:grpSpPr bwMode="auto">
          <a:xfrm rot="18900000">
            <a:off x="5208588" y="4192588"/>
            <a:ext cx="1270000" cy="1290637"/>
            <a:chOff x="4037436" y="494390"/>
            <a:chExt cx="1069127" cy="1085756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2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24" name="Måne 111"/>
            <p:cNvSpPr/>
            <p:nvPr/>
          </p:nvSpPr>
          <p:spPr bwMode="auto">
            <a:xfrm rot="16045033">
              <a:off x="4395917" y="928937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3324" name="Gruppe 101"/>
          <p:cNvGrpSpPr>
            <a:grpSpLocks/>
          </p:cNvGrpSpPr>
          <p:nvPr/>
        </p:nvGrpSpPr>
        <p:grpSpPr bwMode="auto">
          <a:xfrm rot="2700000">
            <a:off x="2691607" y="4191794"/>
            <a:ext cx="1270000" cy="1290637"/>
            <a:chOff x="4037436" y="494390"/>
            <a:chExt cx="1069127" cy="1085756"/>
          </a:xfrm>
        </p:grpSpPr>
        <p:sp>
          <p:nvSpPr>
            <p:cNvPr id="26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28" name="Måne 111"/>
            <p:cNvSpPr/>
            <p:nvPr/>
          </p:nvSpPr>
          <p:spPr bwMode="auto">
            <a:xfrm rot="16045033">
              <a:off x="4395918" y="908783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3325" name="Gruppe 101"/>
          <p:cNvGrpSpPr>
            <a:grpSpLocks/>
          </p:cNvGrpSpPr>
          <p:nvPr/>
        </p:nvGrpSpPr>
        <p:grpSpPr bwMode="auto">
          <a:xfrm rot="-8100000">
            <a:off x="5251450" y="1652588"/>
            <a:ext cx="1270000" cy="1289050"/>
            <a:chOff x="4022312" y="479274"/>
            <a:chExt cx="1069127" cy="1085755"/>
          </a:xfrm>
        </p:grpSpPr>
        <p:sp>
          <p:nvSpPr>
            <p:cNvPr id="30" name="Tåre 109"/>
            <p:cNvSpPr/>
            <p:nvPr/>
          </p:nvSpPr>
          <p:spPr bwMode="auto">
            <a:xfrm rot="18900000">
              <a:off x="4022312" y="491373"/>
              <a:ext cx="1069127" cy="1073656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31" name="Tåre 110"/>
            <p:cNvSpPr/>
            <p:nvPr/>
          </p:nvSpPr>
          <p:spPr bwMode="auto">
            <a:xfrm rot="18900000">
              <a:off x="4112008" y="479274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32" name="Måne 111"/>
            <p:cNvSpPr/>
            <p:nvPr/>
          </p:nvSpPr>
          <p:spPr bwMode="auto">
            <a:xfrm rot="16045033">
              <a:off x="4385836" y="898705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sp>
        <p:nvSpPr>
          <p:cNvPr id="13326" name="Tekstboks 6"/>
          <p:cNvSpPr txBox="1">
            <a:spLocks noChangeArrowheads="1"/>
          </p:cNvSpPr>
          <p:nvPr/>
        </p:nvSpPr>
        <p:spPr bwMode="auto">
          <a:xfrm>
            <a:off x="3538538" y="3411538"/>
            <a:ext cx="21336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ctr" eaLnBrk="1" hangingPunct="1"/>
            <a:r>
              <a:rPr lang="da-DK" b="1">
                <a:solidFill>
                  <a:schemeClr val="bg1"/>
                </a:solidFill>
              </a:rPr>
              <a:t>RIVALRY</a:t>
            </a:r>
          </a:p>
        </p:txBody>
      </p:sp>
      <p:sp>
        <p:nvSpPr>
          <p:cNvPr id="34" name="TextBox 33"/>
          <p:cNvSpPr txBox="1"/>
          <p:nvPr/>
        </p:nvSpPr>
        <p:spPr>
          <a:xfrm rot="18900000">
            <a:off x="4994474" y="4500790"/>
            <a:ext cx="1308100" cy="276999"/>
          </a:xfrm>
          <a:prstGeom prst="rect">
            <a:avLst/>
          </a:prstGeom>
          <a:noFill/>
        </p:spPr>
        <p:txBody>
          <a:bodyPr spcFirstLastPara="1">
            <a:prstTxWarp prst="textArchDown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b="1" dirty="0">
                <a:solidFill>
                  <a:schemeClr val="bg2"/>
                </a:solidFill>
                <a:latin typeface="Calibri"/>
                <a:ea typeface="ＭＳ Ｐゴシック" pitchFamily="-108" charset="-128"/>
                <a:cs typeface="Calibri"/>
              </a:rPr>
              <a:t>SUBSTITUTES</a:t>
            </a:r>
          </a:p>
        </p:txBody>
      </p:sp>
      <p:sp>
        <p:nvSpPr>
          <p:cNvPr id="35" name="TextBox 34"/>
          <p:cNvSpPr txBox="1"/>
          <p:nvPr/>
        </p:nvSpPr>
        <p:spPr>
          <a:xfrm rot="2700000">
            <a:off x="2860519" y="4527730"/>
            <a:ext cx="1308100" cy="276999"/>
          </a:xfrm>
          <a:prstGeom prst="rect">
            <a:avLst/>
          </a:prstGeom>
          <a:noFill/>
        </p:spPr>
        <p:txBody>
          <a:bodyPr spcFirstLastPara="1">
            <a:prstTxWarp prst="textArchDown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b="1" dirty="0">
                <a:solidFill>
                  <a:schemeClr val="bg2"/>
                </a:solidFill>
                <a:latin typeface="Calibri"/>
                <a:ea typeface="ＭＳ Ｐゴシック" pitchFamily="-108" charset="-128"/>
                <a:cs typeface="Calibri"/>
              </a:rPr>
              <a:t>BUYERS</a:t>
            </a:r>
          </a:p>
        </p:txBody>
      </p:sp>
      <p:sp>
        <p:nvSpPr>
          <p:cNvPr id="36" name="TextBox 35"/>
          <p:cNvSpPr txBox="1"/>
          <p:nvPr/>
        </p:nvSpPr>
        <p:spPr>
          <a:xfrm rot="2700000">
            <a:off x="4813557" y="2402293"/>
            <a:ext cx="1663700" cy="307777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b="1" dirty="0">
                <a:solidFill>
                  <a:srgbClr val="FFFFFF"/>
                </a:solidFill>
                <a:latin typeface="Calibri"/>
                <a:ea typeface="ＭＳ Ｐゴシック" pitchFamily="-108" charset="-128"/>
                <a:cs typeface="Calibri"/>
              </a:rPr>
              <a:t> SUPPLIERS </a:t>
            </a:r>
          </a:p>
        </p:txBody>
      </p:sp>
      <p:sp>
        <p:nvSpPr>
          <p:cNvPr id="41" name="TextBox 40"/>
          <p:cNvSpPr txBox="1"/>
          <p:nvPr/>
        </p:nvSpPr>
        <p:spPr>
          <a:xfrm rot="18812623">
            <a:off x="2743458" y="2351494"/>
            <a:ext cx="1663700" cy="307777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b="1" dirty="0">
                <a:solidFill>
                  <a:srgbClr val="FFFFFF"/>
                </a:solidFill>
                <a:latin typeface="Calibri"/>
                <a:ea typeface="ＭＳ Ｐゴシック" pitchFamily="-108" charset="-128"/>
                <a:cs typeface="Calibri"/>
              </a:rPr>
              <a:t>BARRIERS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</p:spPr>
        <p:txBody>
          <a:bodyPr/>
          <a:lstStyle/>
          <a:p>
            <a:r>
              <a:rPr lang="en-US" dirty="0"/>
              <a:t>Replace this </a:t>
            </a: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650" y="404717"/>
            <a:ext cx="7886700" cy="461665"/>
          </a:xfrm>
        </p:spPr>
        <p:txBody>
          <a:bodyPr/>
          <a:lstStyle/>
          <a:p>
            <a:r>
              <a:rPr lang="en-US"/>
              <a:t>PORTERS 5 FORCES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1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072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ounded Rectangle 57"/>
          <p:cNvSpPr>
            <a:spLocks noChangeArrowheads="1"/>
          </p:cNvSpPr>
          <p:nvPr/>
        </p:nvSpPr>
        <p:spPr bwMode="auto">
          <a:xfrm>
            <a:off x="647700" y="4216400"/>
            <a:ext cx="7912100" cy="1168400"/>
          </a:xfrm>
          <a:prstGeom prst="roundRect">
            <a:avLst>
              <a:gd name="adj" fmla="val 5986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10287" dir="5400000" rotWithShape="0">
              <a:srgbClr val="BFBFBF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9" name="Rounded Rectangle 58"/>
          <p:cNvSpPr>
            <a:spLocks noChangeArrowheads="1"/>
          </p:cNvSpPr>
          <p:nvPr/>
        </p:nvSpPr>
        <p:spPr bwMode="auto">
          <a:xfrm>
            <a:off x="647700" y="1752600"/>
            <a:ext cx="7912100" cy="1168400"/>
          </a:xfrm>
          <a:prstGeom prst="roundRect">
            <a:avLst>
              <a:gd name="adj" fmla="val 5986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10287" dir="5400000" rotWithShape="0">
              <a:srgbClr val="BFBFBF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340" name="TextBox 5"/>
          <p:cNvSpPr txBox="1">
            <a:spLocks noChangeArrowheads="1"/>
          </p:cNvSpPr>
          <p:nvPr/>
        </p:nvSpPr>
        <p:spPr bwMode="auto">
          <a:xfrm>
            <a:off x="681038" y="4287838"/>
            <a:ext cx="195580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Buy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4341" name="TextBox 6"/>
          <p:cNvSpPr txBox="1">
            <a:spLocks noChangeArrowheads="1"/>
          </p:cNvSpPr>
          <p:nvPr/>
        </p:nvSpPr>
        <p:spPr bwMode="auto">
          <a:xfrm>
            <a:off x="6548438" y="4287838"/>
            <a:ext cx="195580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hreat of substitutes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4342" name="TextBox 8"/>
          <p:cNvSpPr txBox="1">
            <a:spLocks noChangeArrowheads="1"/>
          </p:cNvSpPr>
          <p:nvPr/>
        </p:nvSpPr>
        <p:spPr bwMode="auto">
          <a:xfrm>
            <a:off x="681038" y="1824038"/>
            <a:ext cx="195580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Barriers to entry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4343" name="TextBox 9"/>
          <p:cNvSpPr txBox="1">
            <a:spLocks noChangeArrowheads="1"/>
          </p:cNvSpPr>
          <p:nvPr/>
        </p:nvSpPr>
        <p:spPr bwMode="auto">
          <a:xfrm>
            <a:off x="6548438" y="1824038"/>
            <a:ext cx="196850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Suppli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60" name="Donut 6"/>
          <p:cNvSpPr>
            <a:spLocks/>
          </p:cNvSpPr>
          <p:nvPr/>
        </p:nvSpPr>
        <p:spPr bwMode="auto">
          <a:xfrm rot="2700000">
            <a:off x="2578100" y="1546225"/>
            <a:ext cx="4013200" cy="4013200"/>
          </a:xfrm>
          <a:custGeom>
            <a:avLst/>
            <a:gdLst>
              <a:gd name="T0" fmla="*/ 0 w 4013200"/>
              <a:gd name="T1" fmla="*/ 2006600 h 4013200"/>
              <a:gd name="T2" fmla="*/ 2006600 w 4013200"/>
              <a:gd name="T3" fmla="*/ 0 h 4013200"/>
              <a:gd name="T4" fmla="*/ 4013200 w 4013200"/>
              <a:gd name="T5" fmla="*/ 2006600 h 4013200"/>
              <a:gd name="T6" fmla="*/ 2006600 w 4013200"/>
              <a:gd name="T7" fmla="*/ 4013200 h 4013200"/>
              <a:gd name="T8" fmla="*/ 0 w 4013200"/>
              <a:gd name="T9" fmla="*/ 2006600 h 4013200"/>
              <a:gd name="T10" fmla="*/ 733011 w 4013200"/>
              <a:gd name="T11" fmla="*/ 2006600 h 4013200"/>
              <a:gd name="T12" fmla="*/ 2006600 w 4013200"/>
              <a:gd name="T13" fmla="*/ 3280189 h 4013200"/>
              <a:gd name="T14" fmla="*/ 3280189 w 4013200"/>
              <a:gd name="T15" fmla="*/ 2006600 h 4013200"/>
              <a:gd name="T16" fmla="*/ 2006600 w 4013200"/>
              <a:gd name="T17" fmla="*/ 733011 h 4013200"/>
              <a:gd name="T18" fmla="*/ 733011 w 4013200"/>
              <a:gd name="T19" fmla="*/ 2006600 h 40132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13200" h="4013200">
                <a:moveTo>
                  <a:pt x="0" y="2006600"/>
                </a:moveTo>
                <a:cubicBezTo>
                  <a:pt x="0" y="898385"/>
                  <a:pt x="898385" y="0"/>
                  <a:pt x="2006600" y="0"/>
                </a:cubicBezTo>
                <a:cubicBezTo>
                  <a:pt x="3114815" y="0"/>
                  <a:pt x="4013200" y="898385"/>
                  <a:pt x="4013200" y="2006600"/>
                </a:cubicBezTo>
                <a:cubicBezTo>
                  <a:pt x="4013200" y="3114815"/>
                  <a:pt x="3114815" y="4013200"/>
                  <a:pt x="2006600" y="4013200"/>
                </a:cubicBezTo>
                <a:cubicBezTo>
                  <a:pt x="898385" y="4013200"/>
                  <a:pt x="0" y="3114815"/>
                  <a:pt x="0" y="2006600"/>
                </a:cubicBezTo>
                <a:close/>
                <a:moveTo>
                  <a:pt x="733011" y="2006600"/>
                </a:moveTo>
                <a:cubicBezTo>
                  <a:pt x="733011" y="2709984"/>
                  <a:pt x="1303216" y="3280189"/>
                  <a:pt x="2006600" y="3280189"/>
                </a:cubicBezTo>
                <a:cubicBezTo>
                  <a:pt x="2709984" y="3280189"/>
                  <a:pt x="3280189" y="2709984"/>
                  <a:pt x="3280189" y="2006600"/>
                </a:cubicBezTo>
                <a:cubicBezTo>
                  <a:pt x="3280189" y="1303216"/>
                  <a:pt x="2709984" y="733011"/>
                  <a:pt x="2006600" y="733011"/>
                </a:cubicBezTo>
                <a:cubicBezTo>
                  <a:pt x="1303216" y="733011"/>
                  <a:pt x="733011" y="1303216"/>
                  <a:pt x="733011" y="200660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>
            <a:solidFill>
              <a:srgbClr val="4A7EBB"/>
            </a:solidFill>
            <a:prstDash val="solid"/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/>
          </a:p>
        </p:txBody>
      </p:sp>
      <p:grpSp>
        <p:nvGrpSpPr>
          <p:cNvPr id="14347" name="Gruppe 101"/>
          <p:cNvGrpSpPr>
            <a:grpSpLocks/>
          </p:cNvGrpSpPr>
          <p:nvPr/>
        </p:nvGrpSpPr>
        <p:grpSpPr bwMode="auto">
          <a:xfrm rot="8100000">
            <a:off x="2717800" y="1651000"/>
            <a:ext cx="1270000" cy="1290638"/>
            <a:chOff x="4037436" y="494390"/>
            <a:chExt cx="1069127" cy="1085756"/>
          </a:xfrm>
        </p:grpSpPr>
        <p:sp>
          <p:nvSpPr>
            <p:cNvPr id="64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65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66" name="Måne 111"/>
            <p:cNvSpPr/>
            <p:nvPr/>
          </p:nvSpPr>
          <p:spPr bwMode="auto">
            <a:xfrm rot="16045033">
              <a:off x="4406000" y="918860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4348" name="Group 47"/>
          <p:cNvGrpSpPr>
            <a:grpSpLocks/>
          </p:cNvGrpSpPr>
          <p:nvPr/>
        </p:nvGrpSpPr>
        <p:grpSpPr bwMode="auto">
          <a:xfrm rot="-216725">
            <a:off x="3708400" y="2632075"/>
            <a:ext cx="1778000" cy="1843088"/>
            <a:chOff x="3571734" y="2493169"/>
            <a:chExt cx="1818619" cy="1882967"/>
          </a:xfrm>
        </p:grpSpPr>
        <p:sp>
          <p:nvSpPr>
            <p:cNvPr id="14375" name="Tekstboks 22"/>
            <p:cNvSpPr txBox="1">
              <a:spLocks noChangeArrowheads="1"/>
            </p:cNvSpPr>
            <p:nvPr/>
          </p:nvSpPr>
          <p:spPr bwMode="auto">
            <a:xfrm>
              <a:off x="4331140" y="3420368"/>
              <a:ext cx="864339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 sz="1500" b="1">
                  <a:solidFill>
                    <a:schemeClr val="bg2"/>
                  </a:solidFill>
                </a:rPr>
                <a:t>RIVALRY</a:t>
              </a:r>
            </a:p>
          </p:txBody>
        </p:sp>
        <p:sp>
          <p:nvSpPr>
            <p:cNvPr id="69" name="Ellipse 30"/>
            <p:cNvSpPr/>
            <p:nvPr/>
          </p:nvSpPr>
          <p:spPr bwMode="auto">
            <a:xfrm rot="4534327" flipH="1">
              <a:off x="3537520" y="2527383"/>
              <a:ext cx="1882967" cy="1814540"/>
            </a:xfrm>
            <a:prstGeom prst="ellipse">
              <a:avLst/>
            </a:prstGeom>
            <a:gradFill flip="none" rotWithShape="1">
              <a:gsLst>
                <a:gs pos="100000">
                  <a:srgbClr val="2A9B18">
                    <a:lumMod val="87000"/>
                  </a:srgbClr>
                </a:gs>
                <a:gs pos="0">
                  <a:srgbClr val="2A9B18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269875" dist="114300" dir="5640000">
                <a:srgbClr val="000000">
                  <a:alpha val="13000"/>
                </a:srgbClr>
              </a:innerShdw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70" name="Ellipse 31"/>
            <p:cNvSpPr>
              <a:spLocks noChangeArrowheads="1"/>
            </p:cNvSpPr>
            <p:nvPr/>
          </p:nvSpPr>
          <p:spPr bwMode="auto">
            <a:xfrm flipH="1">
              <a:off x="3818613" y="2557220"/>
              <a:ext cx="1333449" cy="1020716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40000"/>
                  </a:srgbClr>
                </a:gs>
                <a:gs pos="67000">
                  <a:srgbClr val="FFFFFF">
                    <a:alpha val="0"/>
                  </a:srgbClr>
                </a:gs>
              </a:gsLst>
              <a:lin ang="54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342900" indent="-342900" algn="ctr">
                <a:buFont typeface="Calibri" pitchFamily="-109" charset="0"/>
                <a:buAutoNum type="arabicPeriod"/>
                <a:defRPr/>
              </a:pPr>
              <a:endParaRPr lang="nb-NO">
                <a:solidFill>
                  <a:srgbClr val="FFFFFF"/>
                </a:solidFill>
              </a:endParaRPr>
            </a:p>
          </p:txBody>
        </p:sp>
        <p:sp>
          <p:nvSpPr>
            <p:cNvPr id="71" name="Måne 29"/>
            <p:cNvSpPr/>
            <p:nvPr/>
          </p:nvSpPr>
          <p:spPr bwMode="auto">
            <a:xfrm rot="5029289" flipH="1">
              <a:off x="4100417" y="3060500"/>
              <a:ext cx="852586" cy="1727286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72" name="Gruppe 101"/>
          <p:cNvGrpSpPr>
            <a:grpSpLocks/>
          </p:cNvGrpSpPr>
          <p:nvPr/>
        </p:nvGrpSpPr>
        <p:grpSpPr bwMode="auto">
          <a:xfrm rot="18900000">
            <a:off x="5208588" y="4192588"/>
            <a:ext cx="1270000" cy="1290637"/>
            <a:chOff x="4037436" y="494390"/>
            <a:chExt cx="1069127" cy="1085756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73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4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75" name="Måne 111"/>
            <p:cNvSpPr/>
            <p:nvPr/>
          </p:nvSpPr>
          <p:spPr bwMode="auto">
            <a:xfrm rot="16045033">
              <a:off x="4395917" y="928937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4350" name="Gruppe 101"/>
          <p:cNvGrpSpPr>
            <a:grpSpLocks/>
          </p:cNvGrpSpPr>
          <p:nvPr/>
        </p:nvGrpSpPr>
        <p:grpSpPr bwMode="auto">
          <a:xfrm rot="2700000">
            <a:off x="2691607" y="4191794"/>
            <a:ext cx="1270000" cy="1290637"/>
            <a:chOff x="4037436" y="494390"/>
            <a:chExt cx="1069127" cy="1085756"/>
          </a:xfrm>
        </p:grpSpPr>
        <p:sp>
          <p:nvSpPr>
            <p:cNvPr id="77" name="Tåre 109"/>
            <p:cNvSpPr/>
            <p:nvPr/>
          </p:nvSpPr>
          <p:spPr bwMode="auto">
            <a:xfrm rot="18900000">
              <a:off x="4037436" y="506489"/>
              <a:ext cx="1069127" cy="1073657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8" name="Tåre 110"/>
            <p:cNvSpPr/>
            <p:nvPr/>
          </p:nvSpPr>
          <p:spPr bwMode="auto">
            <a:xfrm rot="18900000">
              <a:off x="4127133" y="494390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79" name="Måne 111"/>
            <p:cNvSpPr/>
            <p:nvPr/>
          </p:nvSpPr>
          <p:spPr bwMode="auto">
            <a:xfrm rot="16045033">
              <a:off x="4395918" y="908783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4351" name="Gruppe 101"/>
          <p:cNvGrpSpPr>
            <a:grpSpLocks/>
          </p:cNvGrpSpPr>
          <p:nvPr/>
        </p:nvGrpSpPr>
        <p:grpSpPr bwMode="auto">
          <a:xfrm rot="-8100000">
            <a:off x="5251450" y="1652588"/>
            <a:ext cx="1270000" cy="1289050"/>
            <a:chOff x="4022312" y="479274"/>
            <a:chExt cx="1069127" cy="1085755"/>
          </a:xfrm>
        </p:grpSpPr>
        <p:sp>
          <p:nvSpPr>
            <p:cNvPr id="81" name="Tåre 109"/>
            <p:cNvSpPr/>
            <p:nvPr/>
          </p:nvSpPr>
          <p:spPr bwMode="auto">
            <a:xfrm rot="18900000">
              <a:off x="4022312" y="491373"/>
              <a:ext cx="1069127" cy="1073656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  <a:alpha val="39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rgbClr val="0081BE">
                  <a:lumMod val="75000"/>
                  <a:alpha val="6000"/>
                </a:srgb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82" name="Tåre 110"/>
            <p:cNvSpPr/>
            <p:nvPr/>
          </p:nvSpPr>
          <p:spPr bwMode="auto">
            <a:xfrm rot="18900000">
              <a:off x="4112008" y="479274"/>
              <a:ext cx="889734" cy="893504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83" name="Måne 111"/>
            <p:cNvSpPr/>
            <p:nvPr/>
          </p:nvSpPr>
          <p:spPr bwMode="auto">
            <a:xfrm rot="16045033">
              <a:off x="4385836" y="898705"/>
              <a:ext cx="372330" cy="924100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9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sp>
        <p:nvSpPr>
          <p:cNvPr id="14352" name="Tekstboks 6"/>
          <p:cNvSpPr txBox="1">
            <a:spLocks noChangeArrowheads="1"/>
          </p:cNvSpPr>
          <p:nvPr/>
        </p:nvSpPr>
        <p:spPr bwMode="auto">
          <a:xfrm>
            <a:off x="3538538" y="3411538"/>
            <a:ext cx="21336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ctr" eaLnBrk="1" hangingPunct="1"/>
            <a:r>
              <a:rPr lang="da-DK" b="1">
                <a:solidFill>
                  <a:schemeClr val="bg1"/>
                </a:solidFill>
              </a:rPr>
              <a:t>RIVALRY</a:t>
            </a:r>
          </a:p>
        </p:txBody>
      </p:sp>
      <p:sp>
        <p:nvSpPr>
          <p:cNvPr id="24" name="&quot;No&quot; Symbol 23"/>
          <p:cNvSpPr/>
          <p:nvPr/>
        </p:nvSpPr>
        <p:spPr bwMode="auto">
          <a:xfrm>
            <a:off x="3173413" y="2201863"/>
            <a:ext cx="466725" cy="466725"/>
          </a:xfrm>
          <a:prstGeom prst="noSmoking">
            <a:avLst>
              <a:gd name="adj" fmla="val 1444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chemeClr val="tx1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2058" name="Gruppe 46"/>
          <p:cNvGrpSpPr>
            <a:grpSpLocks/>
          </p:cNvGrpSpPr>
          <p:nvPr/>
        </p:nvGrpSpPr>
        <p:grpSpPr bwMode="auto">
          <a:xfrm>
            <a:off x="5460042" y="4545795"/>
            <a:ext cx="571500" cy="425450"/>
            <a:chOff x="4821610" y="587829"/>
            <a:chExt cx="2393544" cy="1781593"/>
          </a:xfrm>
          <a:solidFill>
            <a:schemeClr val="bg1"/>
          </a:solidFill>
        </p:grpSpPr>
        <p:sp>
          <p:nvSpPr>
            <p:cNvPr id="2081" name="Freeform 528"/>
            <p:cNvSpPr>
              <a:spLocks/>
            </p:cNvSpPr>
            <p:nvPr/>
          </p:nvSpPr>
          <p:spPr bwMode="auto">
            <a:xfrm>
              <a:off x="4821610" y="587829"/>
              <a:ext cx="2393544" cy="1781593"/>
            </a:xfrm>
            <a:custGeom>
              <a:avLst/>
              <a:gdLst>
                <a:gd name="T0" fmla="*/ 2147483647 w 794"/>
                <a:gd name="T1" fmla="*/ 2147483647 h 591"/>
                <a:gd name="T2" fmla="*/ 2147483647 w 794"/>
                <a:gd name="T3" fmla="*/ 2147483647 h 591"/>
                <a:gd name="T4" fmla="*/ 2147483647 w 794"/>
                <a:gd name="T5" fmla="*/ 2147483647 h 591"/>
                <a:gd name="T6" fmla="*/ 2147483647 w 794"/>
                <a:gd name="T7" fmla="*/ 2147483647 h 591"/>
                <a:gd name="T8" fmla="*/ 2147483647 w 794"/>
                <a:gd name="T9" fmla="*/ 2147483647 h 591"/>
                <a:gd name="T10" fmla="*/ 2147483647 w 794"/>
                <a:gd name="T11" fmla="*/ 2147483647 h 591"/>
                <a:gd name="T12" fmla="*/ 2147483647 w 794"/>
                <a:gd name="T13" fmla="*/ 2147483647 h 591"/>
                <a:gd name="T14" fmla="*/ 2147483647 w 794"/>
                <a:gd name="T15" fmla="*/ 2147483647 h 591"/>
                <a:gd name="T16" fmla="*/ 2147483647 w 794"/>
                <a:gd name="T17" fmla="*/ 2147483647 h 591"/>
                <a:gd name="T18" fmla="*/ 2147483647 w 794"/>
                <a:gd name="T19" fmla="*/ 2147483647 h 591"/>
                <a:gd name="T20" fmla="*/ 2147483647 w 794"/>
                <a:gd name="T21" fmla="*/ 2147483647 h 591"/>
                <a:gd name="T22" fmla="*/ 2147483647 w 794"/>
                <a:gd name="T23" fmla="*/ 2147483647 h 591"/>
                <a:gd name="T24" fmla="*/ 2147483647 w 794"/>
                <a:gd name="T25" fmla="*/ 2147483647 h 591"/>
                <a:gd name="T26" fmla="*/ 2147483647 w 794"/>
                <a:gd name="T27" fmla="*/ 2147483647 h 591"/>
                <a:gd name="T28" fmla="*/ 2147483647 w 794"/>
                <a:gd name="T29" fmla="*/ 2147483647 h 591"/>
                <a:gd name="T30" fmla="*/ 2147483647 w 794"/>
                <a:gd name="T31" fmla="*/ 2147483647 h 591"/>
                <a:gd name="T32" fmla="*/ 2147483647 w 794"/>
                <a:gd name="T33" fmla="*/ 2147483647 h 591"/>
                <a:gd name="T34" fmla="*/ 2147483647 w 794"/>
                <a:gd name="T35" fmla="*/ 2147483647 h 591"/>
                <a:gd name="T36" fmla="*/ 2147483647 w 794"/>
                <a:gd name="T37" fmla="*/ 2147483647 h 591"/>
                <a:gd name="T38" fmla="*/ 2147483647 w 794"/>
                <a:gd name="T39" fmla="*/ 2147483647 h 591"/>
                <a:gd name="T40" fmla="*/ 2147483647 w 794"/>
                <a:gd name="T41" fmla="*/ 2147483647 h 591"/>
                <a:gd name="T42" fmla="*/ 2147483647 w 794"/>
                <a:gd name="T43" fmla="*/ 0 h 591"/>
                <a:gd name="T44" fmla="*/ 2147483647 w 794"/>
                <a:gd name="T45" fmla="*/ 2147483647 h 591"/>
                <a:gd name="T46" fmla="*/ 2147483647 w 794"/>
                <a:gd name="T47" fmla="*/ 2147483647 h 591"/>
                <a:gd name="T48" fmla="*/ 2147483647 w 794"/>
                <a:gd name="T49" fmla="*/ 2147483647 h 591"/>
                <a:gd name="T50" fmla="*/ 2147483647 w 794"/>
                <a:gd name="T51" fmla="*/ 2147483647 h 591"/>
                <a:gd name="T52" fmla="*/ 2147483647 w 794"/>
                <a:gd name="T53" fmla="*/ 2147483647 h 591"/>
                <a:gd name="T54" fmla="*/ 0 w 794"/>
                <a:gd name="T55" fmla="*/ 2147483647 h 591"/>
                <a:gd name="T56" fmla="*/ 2147483647 w 794"/>
                <a:gd name="T57" fmla="*/ 2147483647 h 591"/>
                <a:gd name="T58" fmla="*/ 2147483647 w 794"/>
                <a:gd name="T59" fmla="*/ 2147483647 h 591"/>
                <a:gd name="T60" fmla="*/ 2147483647 w 794"/>
                <a:gd name="T61" fmla="*/ 2147483647 h 591"/>
                <a:gd name="T62" fmla="*/ 2147483647 w 794"/>
                <a:gd name="T63" fmla="*/ 2147483647 h 591"/>
                <a:gd name="T64" fmla="*/ 2147483647 w 794"/>
                <a:gd name="T65" fmla="*/ 2147483647 h 591"/>
                <a:gd name="T66" fmla="*/ 2147483647 w 794"/>
                <a:gd name="T67" fmla="*/ 2147483647 h 591"/>
                <a:gd name="T68" fmla="*/ 2147483647 w 794"/>
                <a:gd name="T69" fmla="*/ 2147483647 h 591"/>
                <a:gd name="T70" fmla="*/ 2147483647 w 794"/>
                <a:gd name="T71" fmla="*/ 2147483647 h 591"/>
                <a:gd name="T72" fmla="*/ 2147483647 w 794"/>
                <a:gd name="T73" fmla="*/ 2147483647 h 591"/>
                <a:gd name="T74" fmla="*/ 2147483647 w 794"/>
                <a:gd name="T75" fmla="*/ 2147483647 h 591"/>
                <a:gd name="T76" fmla="*/ 2147483647 w 794"/>
                <a:gd name="T77" fmla="*/ 2147483647 h 591"/>
                <a:gd name="T78" fmla="*/ 2147483647 w 794"/>
                <a:gd name="T79" fmla="*/ 2147483647 h 591"/>
                <a:gd name="T80" fmla="*/ 2147483647 w 794"/>
                <a:gd name="T81" fmla="*/ 2147483647 h 591"/>
                <a:gd name="T82" fmla="*/ 2147483647 w 794"/>
                <a:gd name="T83" fmla="*/ 2147483647 h 591"/>
                <a:gd name="T84" fmla="*/ 2147483647 w 794"/>
                <a:gd name="T85" fmla="*/ 2147483647 h 591"/>
                <a:gd name="T86" fmla="*/ 2147483647 w 794"/>
                <a:gd name="T87" fmla="*/ 2147483647 h 591"/>
                <a:gd name="T88" fmla="*/ 2147483647 w 794"/>
                <a:gd name="T89" fmla="*/ 2147483647 h 591"/>
                <a:gd name="T90" fmla="*/ 2147483647 w 794"/>
                <a:gd name="T91" fmla="*/ 2147483647 h 591"/>
                <a:gd name="T92" fmla="*/ 2147483647 w 794"/>
                <a:gd name="T93" fmla="*/ 2147483647 h 591"/>
                <a:gd name="T94" fmla="*/ 2147483647 w 794"/>
                <a:gd name="T95" fmla="*/ 2147483647 h 591"/>
                <a:gd name="T96" fmla="*/ 2147483647 w 794"/>
                <a:gd name="T97" fmla="*/ 2147483647 h 591"/>
                <a:gd name="T98" fmla="*/ 2147483647 w 794"/>
                <a:gd name="T99" fmla="*/ 2147483647 h 591"/>
                <a:gd name="T100" fmla="*/ 2147483647 w 794"/>
                <a:gd name="T101" fmla="*/ 2147483647 h 5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94"/>
                <a:gd name="T154" fmla="*/ 0 h 591"/>
                <a:gd name="T155" fmla="*/ 794 w 794"/>
                <a:gd name="T156" fmla="*/ 591 h 5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94" h="591">
                  <a:moveTo>
                    <a:pt x="783" y="463"/>
                  </a:moveTo>
                  <a:lnTo>
                    <a:pt x="771" y="468"/>
                  </a:lnTo>
                  <a:lnTo>
                    <a:pt x="757" y="474"/>
                  </a:lnTo>
                  <a:lnTo>
                    <a:pt x="742" y="480"/>
                  </a:lnTo>
                  <a:lnTo>
                    <a:pt x="719" y="486"/>
                  </a:lnTo>
                  <a:lnTo>
                    <a:pt x="704" y="486"/>
                  </a:lnTo>
                  <a:lnTo>
                    <a:pt x="698" y="486"/>
                  </a:lnTo>
                  <a:lnTo>
                    <a:pt x="687" y="480"/>
                  </a:lnTo>
                  <a:lnTo>
                    <a:pt x="675" y="480"/>
                  </a:lnTo>
                  <a:lnTo>
                    <a:pt x="660" y="480"/>
                  </a:lnTo>
                  <a:lnTo>
                    <a:pt x="655" y="486"/>
                  </a:lnTo>
                  <a:lnTo>
                    <a:pt x="617" y="474"/>
                  </a:lnTo>
                  <a:lnTo>
                    <a:pt x="620" y="428"/>
                  </a:lnTo>
                  <a:lnTo>
                    <a:pt x="570" y="404"/>
                  </a:lnTo>
                  <a:lnTo>
                    <a:pt x="556" y="404"/>
                  </a:lnTo>
                  <a:lnTo>
                    <a:pt x="521" y="387"/>
                  </a:lnTo>
                  <a:lnTo>
                    <a:pt x="480" y="375"/>
                  </a:lnTo>
                  <a:lnTo>
                    <a:pt x="474" y="369"/>
                  </a:lnTo>
                  <a:lnTo>
                    <a:pt x="460" y="361"/>
                  </a:lnTo>
                  <a:lnTo>
                    <a:pt x="445" y="364"/>
                  </a:lnTo>
                  <a:lnTo>
                    <a:pt x="419" y="340"/>
                  </a:lnTo>
                  <a:lnTo>
                    <a:pt x="401" y="335"/>
                  </a:lnTo>
                  <a:lnTo>
                    <a:pt x="375" y="329"/>
                  </a:lnTo>
                  <a:lnTo>
                    <a:pt x="320" y="332"/>
                  </a:lnTo>
                  <a:lnTo>
                    <a:pt x="326" y="311"/>
                  </a:lnTo>
                  <a:lnTo>
                    <a:pt x="305" y="303"/>
                  </a:lnTo>
                  <a:lnTo>
                    <a:pt x="265" y="308"/>
                  </a:lnTo>
                  <a:lnTo>
                    <a:pt x="285" y="288"/>
                  </a:lnTo>
                  <a:lnTo>
                    <a:pt x="297" y="282"/>
                  </a:lnTo>
                  <a:lnTo>
                    <a:pt x="308" y="271"/>
                  </a:lnTo>
                  <a:lnTo>
                    <a:pt x="314" y="262"/>
                  </a:lnTo>
                  <a:lnTo>
                    <a:pt x="352" y="241"/>
                  </a:lnTo>
                  <a:lnTo>
                    <a:pt x="381" y="256"/>
                  </a:lnTo>
                  <a:lnTo>
                    <a:pt x="407" y="271"/>
                  </a:lnTo>
                  <a:lnTo>
                    <a:pt x="451" y="294"/>
                  </a:lnTo>
                  <a:lnTo>
                    <a:pt x="465" y="294"/>
                  </a:lnTo>
                  <a:lnTo>
                    <a:pt x="477" y="291"/>
                  </a:lnTo>
                  <a:lnTo>
                    <a:pt x="483" y="285"/>
                  </a:lnTo>
                  <a:lnTo>
                    <a:pt x="506" y="262"/>
                  </a:lnTo>
                  <a:lnTo>
                    <a:pt x="532" y="239"/>
                  </a:lnTo>
                  <a:lnTo>
                    <a:pt x="564" y="212"/>
                  </a:lnTo>
                  <a:lnTo>
                    <a:pt x="562" y="198"/>
                  </a:lnTo>
                  <a:lnTo>
                    <a:pt x="564" y="189"/>
                  </a:lnTo>
                  <a:lnTo>
                    <a:pt x="579" y="166"/>
                  </a:lnTo>
                  <a:lnTo>
                    <a:pt x="588" y="157"/>
                  </a:lnTo>
                  <a:lnTo>
                    <a:pt x="596" y="148"/>
                  </a:lnTo>
                  <a:lnTo>
                    <a:pt x="602" y="137"/>
                  </a:lnTo>
                  <a:lnTo>
                    <a:pt x="605" y="113"/>
                  </a:lnTo>
                  <a:lnTo>
                    <a:pt x="596" y="105"/>
                  </a:lnTo>
                  <a:lnTo>
                    <a:pt x="559" y="105"/>
                  </a:lnTo>
                  <a:lnTo>
                    <a:pt x="556" y="111"/>
                  </a:lnTo>
                  <a:lnTo>
                    <a:pt x="541" y="122"/>
                  </a:lnTo>
                  <a:lnTo>
                    <a:pt x="541" y="128"/>
                  </a:lnTo>
                  <a:lnTo>
                    <a:pt x="541" y="134"/>
                  </a:lnTo>
                  <a:lnTo>
                    <a:pt x="541" y="137"/>
                  </a:lnTo>
                  <a:lnTo>
                    <a:pt x="544" y="148"/>
                  </a:lnTo>
                  <a:lnTo>
                    <a:pt x="541" y="157"/>
                  </a:lnTo>
                  <a:lnTo>
                    <a:pt x="535" y="169"/>
                  </a:lnTo>
                  <a:lnTo>
                    <a:pt x="509" y="198"/>
                  </a:lnTo>
                  <a:lnTo>
                    <a:pt x="486" y="209"/>
                  </a:lnTo>
                  <a:lnTo>
                    <a:pt x="465" y="227"/>
                  </a:lnTo>
                  <a:lnTo>
                    <a:pt x="457" y="233"/>
                  </a:lnTo>
                  <a:lnTo>
                    <a:pt x="451" y="230"/>
                  </a:lnTo>
                  <a:lnTo>
                    <a:pt x="448" y="224"/>
                  </a:lnTo>
                  <a:lnTo>
                    <a:pt x="422" y="207"/>
                  </a:lnTo>
                  <a:lnTo>
                    <a:pt x="407" y="186"/>
                  </a:lnTo>
                  <a:lnTo>
                    <a:pt x="416" y="160"/>
                  </a:lnTo>
                  <a:lnTo>
                    <a:pt x="410" y="145"/>
                  </a:lnTo>
                  <a:lnTo>
                    <a:pt x="399" y="140"/>
                  </a:lnTo>
                  <a:lnTo>
                    <a:pt x="407" y="137"/>
                  </a:lnTo>
                  <a:lnTo>
                    <a:pt x="413" y="131"/>
                  </a:lnTo>
                  <a:lnTo>
                    <a:pt x="413" y="111"/>
                  </a:lnTo>
                  <a:lnTo>
                    <a:pt x="419" y="96"/>
                  </a:lnTo>
                  <a:lnTo>
                    <a:pt x="422" y="96"/>
                  </a:lnTo>
                  <a:lnTo>
                    <a:pt x="425" y="93"/>
                  </a:lnTo>
                  <a:lnTo>
                    <a:pt x="428" y="90"/>
                  </a:lnTo>
                  <a:lnTo>
                    <a:pt x="422" y="76"/>
                  </a:lnTo>
                  <a:lnTo>
                    <a:pt x="425" y="55"/>
                  </a:lnTo>
                  <a:lnTo>
                    <a:pt x="422" y="44"/>
                  </a:lnTo>
                  <a:lnTo>
                    <a:pt x="428" y="44"/>
                  </a:lnTo>
                  <a:lnTo>
                    <a:pt x="431" y="41"/>
                  </a:lnTo>
                  <a:lnTo>
                    <a:pt x="433" y="35"/>
                  </a:lnTo>
                  <a:lnTo>
                    <a:pt x="431" y="32"/>
                  </a:lnTo>
                  <a:lnTo>
                    <a:pt x="422" y="26"/>
                  </a:lnTo>
                  <a:lnTo>
                    <a:pt x="416" y="20"/>
                  </a:lnTo>
                  <a:lnTo>
                    <a:pt x="407" y="12"/>
                  </a:lnTo>
                  <a:lnTo>
                    <a:pt x="399" y="9"/>
                  </a:lnTo>
                  <a:lnTo>
                    <a:pt x="390" y="6"/>
                  </a:lnTo>
                  <a:lnTo>
                    <a:pt x="378" y="3"/>
                  </a:lnTo>
                  <a:lnTo>
                    <a:pt x="367" y="0"/>
                  </a:lnTo>
                  <a:lnTo>
                    <a:pt x="358" y="0"/>
                  </a:lnTo>
                  <a:lnTo>
                    <a:pt x="343" y="6"/>
                  </a:lnTo>
                  <a:lnTo>
                    <a:pt x="334" y="9"/>
                  </a:lnTo>
                  <a:lnTo>
                    <a:pt x="329" y="15"/>
                  </a:lnTo>
                  <a:lnTo>
                    <a:pt x="317" y="26"/>
                  </a:lnTo>
                  <a:lnTo>
                    <a:pt x="311" y="41"/>
                  </a:lnTo>
                  <a:lnTo>
                    <a:pt x="308" y="55"/>
                  </a:lnTo>
                  <a:lnTo>
                    <a:pt x="305" y="76"/>
                  </a:lnTo>
                  <a:lnTo>
                    <a:pt x="282" y="55"/>
                  </a:lnTo>
                  <a:lnTo>
                    <a:pt x="273" y="49"/>
                  </a:lnTo>
                  <a:lnTo>
                    <a:pt x="265" y="47"/>
                  </a:lnTo>
                  <a:lnTo>
                    <a:pt x="253" y="47"/>
                  </a:lnTo>
                  <a:lnTo>
                    <a:pt x="244" y="49"/>
                  </a:lnTo>
                  <a:lnTo>
                    <a:pt x="230" y="55"/>
                  </a:lnTo>
                  <a:lnTo>
                    <a:pt x="224" y="58"/>
                  </a:lnTo>
                  <a:lnTo>
                    <a:pt x="206" y="67"/>
                  </a:lnTo>
                  <a:lnTo>
                    <a:pt x="174" y="67"/>
                  </a:lnTo>
                  <a:lnTo>
                    <a:pt x="142" y="76"/>
                  </a:lnTo>
                  <a:lnTo>
                    <a:pt x="122" y="79"/>
                  </a:lnTo>
                  <a:lnTo>
                    <a:pt x="105" y="81"/>
                  </a:lnTo>
                  <a:lnTo>
                    <a:pt x="93" y="87"/>
                  </a:lnTo>
                  <a:lnTo>
                    <a:pt x="84" y="96"/>
                  </a:lnTo>
                  <a:lnTo>
                    <a:pt x="17" y="201"/>
                  </a:lnTo>
                  <a:lnTo>
                    <a:pt x="17" y="207"/>
                  </a:lnTo>
                  <a:lnTo>
                    <a:pt x="6" y="207"/>
                  </a:lnTo>
                  <a:lnTo>
                    <a:pt x="0" y="224"/>
                  </a:lnTo>
                  <a:lnTo>
                    <a:pt x="6" y="233"/>
                  </a:lnTo>
                  <a:lnTo>
                    <a:pt x="11" y="236"/>
                  </a:lnTo>
                  <a:lnTo>
                    <a:pt x="14" y="241"/>
                  </a:lnTo>
                  <a:lnTo>
                    <a:pt x="29" y="244"/>
                  </a:lnTo>
                  <a:lnTo>
                    <a:pt x="43" y="247"/>
                  </a:lnTo>
                  <a:lnTo>
                    <a:pt x="49" y="239"/>
                  </a:lnTo>
                  <a:lnTo>
                    <a:pt x="52" y="233"/>
                  </a:lnTo>
                  <a:lnTo>
                    <a:pt x="55" y="221"/>
                  </a:lnTo>
                  <a:lnTo>
                    <a:pt x="70" y="207"/>
                  </a:lnTo>
                  <a:lnTo>
                    <a:pt x="73" y="198"/>
                  </a:lnTo>
                  <a:lnTo>
                    <a:pt x="93" y="175"/>
                  </a:lnTo>
                  <a:lnTo>
                    <a:pt x="96" y="166"/>
                  </a:lnTo>
                  <a:lnTo>
                    <a:pt x="105" y="166"/>
                  </a:lnTo>
                  <a:lnTo>
                    <a:pt x="134" y="143"/>
                  </a:lnTo>
                  <a:lnTo>
                    <a:pt x="160" y="140"/>
                  </a:lnTo>
                  <a:lnTo>
                    <a:pt x="183" y="134"/>
                  </a:lnTo>
                  <a:lnTo>
                    <a:pt x="183" y="140"/>
                  </a:lnTo>
                  <a:lnTo>
                    <a:pt x="139" y="215"/>
                  </a:lnTo>
                  <a:lnTo>
                    <a:pt x="131" y="221"/>
                  </a:lnTo>
                  <a:lnTo>
                    <a:pt x="128" y="227"/>
                  </a:lnTo>
                  <a:lnTo>
                    <a:pt x="128" y="241"/>
                  </a:lnTo>
                  <a:lnTo>
                    <a:pt x="116" y="244"/>
                  </a:lnTo>
                  <a:lnTo>
                    <a:pt x="110" y="253"/>
                  </a:lnTo>
                  <a:lnTo>
                    <a:pt x="73" y="291"/>
                  </a:lnTo>
                  <a:lnTo>
                    <a:pt x="73" y="303"/>
                  </a:lnTo>
                  <a:lnTo>
                    <a:pt x="78" y="317"/>
                  </a:lnTo>
                  <a:lnTo>
                    <a:pt x="84" y="337"/>
                  </a:lnTo>
                  <a:lnTo>
                    <a:pt x="87" y="361"/>
                  </a:lnTo>
                  <a:lnTo>
                    <a:pt x="90" y="364"/>
                  </a:lnTo>
                  <a:lnTo>
                    <a:pt x="93" y="375"/>
                  </a:lnTo>
                  <a:lnTo>
                    <a:pt x="99" y="390"/>
                  </a:lnTo>
                  <a:lnTo>
                    <a:pt x="105" y="399"/>
                  </a:lnTo>
                  <a:lnTo>
                    <a:pt x="113" y="410"/>
                  </a:lnTo>
                  <a:lnTo>
                    <a:pt x="128" y="422"/>
                  </a:lnTo>
                  <a:lnTo>
                    <a:pt x="134" y="428"/>
                  </a:lnTo>
                  <a:lnTo>
                    <a:pt x="137" y="436"/>
                  </a:lnTo>
                  <a:lnTo>
                    <a:pt x="125" y="433"/>
                  </a:lnTo>
                  <a:lnTo>
                    <a:pt x="113" y="436"/>
                  </a:lnTo>
                  <a:lnTo>
                    <a:pt x="102" y="442"/>
                  </a:lnTo>
                  <a:lnTo>
                    <a:pt x="96" y="433"/>
                  </a:lnTo>
                  <a:lnTo>
                    <a:pt x="90" y="428"/>
                  </a:lnTo>
                  <a:lnTo>
                    <a:pt x="84" y="425"/>
                  </a:lnTo>
                  <a:lnTo>
                    <a:pt x="78" y="425"/>
                  </a:lnTo>
                  <a:lnTo>
                    <a:pt x="73" y="428"/>
                  </a:lnTo>
                  <a:lnTo>
                    <a:pt x="64" y="431"/>
                  </a:lnTo>
                  <a:lnTo>
                    <a:pt x="64" y="436"/>
                  </a:lnTo>
                  <a:lnTo>
                    <a:pt x="43" y="463"/>
                  </a:lnTo>
                  <a:lnTo>
                    <a:pt x="55" y="468"/>
                  </a:lnTo>
                  <a:lnTo>
                    <a:pt x="38" y="480"/>
                  </a:lnTo>
                  <a:lnTo>
                    <a:pt x="26" y="492"/>
                  </a:lnTo>
                  <a:lnTo>
                    <a:pt x="17" y="506"/>
                  </a:lnTo>
                  <a:lnTo>
                    <a:pt x="11" y="521"/>
                  </a:lnTo>
                  <a:lnTo>
                    <a:pt x="8" y="535"/>
                  </a:lnTo>
                  <a:lnTo>
                    <a:pt x="8" y="556"/>
                  </a:lnTo>
                  <a:lnTo>
                    <a:pt x="8" y="564"/>
                  </a:lnTo>
                  <a:lnTo>
                    <a:pt x="38" y="561"/>
                  </a:lnTo>
                  <a:lnTo>
                    <a:pt x="43" y="550"/>
                  </a:lnTo>
                  <a:lnTo>
                    <a:pt x="55" y="538"/>
                  </a:lnTo>
                  <a:lnTo>
                    <a:pt x="67" y="529"/>
                  </a:lnTo>
                  <a:lnTo>
                    <a:pt x="81" y="524"/>
                  </a:lnTo>
                  <a:lnTo>
                    <a:pt x="105" y="515"/>
                  </a:lnTo>
                  <a:lnTo>
                    <a:pt x="116" y="512"/>
                  </a:lnTo>
                  <a:lnTo>
                    <a:pt x="119" y="529"/>
                  </a:lnTo>
                  <a:lnTo>
                    <a:pt x="163" y="512"/>
                  </a:lnTo>
                  <a:lnTo>
                    <a:pt x="206" y="506"/>
                  </a:lnTo>
                  <a:lnTo>
                    <a:pt x="215" y="503"/>
                  </a:lnTo>
                  <a:lnTo>
                    <a:pt x="241" y="500"/>
                  </a:lnTo>
                  <a:lnTo>
                    <a:pt x="250" y="495"/>
                  </a:lnTo>
                  <a:lnTo>
                    <a:pt x="262" y="492"/>
                  </a:lnTo>
                  <a:lnTo>
                    <a:pt x="273" y="492"/>
                  </a:lnTo>
                  <a:lnTo>
                    <a:pt x="282" y="492"/>
                  </a:lnTo>
                  <a:lnTo>
                    <a:pt x="291" y="489"/>
                  </a:lnTo>
                  <a:lnTo>
                    <a:pt x="305" y="480"/>
                  </a:lnTo>
                  <a:lnTo>
                    <a:pt x="320" y="468"/>
                  </a:lnTo>
                  <a:lnTo>
                    <a:pt x="329" y="468"/>
                  </a:lnTo>
                  <a:lnTo>
                    <a:pt x="334" y="463"/>
                  </a:lnTo>
                  <a:lnTo>
                    <a:pt x="337" y="457"/>
                  </a:lnTo>
                  <a:lnTo>
                    <a:pt x="340" y="448"/>
                  </a:lnTo>
                  <a:lnTo>
                    <a:pt x="340" y="439"/>
                  </a:lnTo>
                  <a:lnTo>
                    <a:pt x="340" y="428"/>
                  </a:lnTo>
                  <a:lnTo>
                    <a:pt x="372" y="413"/>
                  </a:lnTo>
                  <a:lnTo>
                    <a:pt x="407" y="419"/>
                  </a:lnTo>
                  <a:lnTo>
                    <a:pt x="416" y="436"/>
                  </a:lnTo>
                  <a:lnTo>
                    <a:pt x="431" y="448"/>
                  </a:lnTo>
                  <a:lnTo>
                    <a:pt x="486" y="474"/>
                  </a:lnTo>
                  <a:lnTo>
                    <a:pt x="512" y="486"/>
                  </a:lnTo>
                  <a:lnTo>
                    <a:pt x="541" y="500"/>
                  </a:lnTo>
                  <a:lnTo>
                    <a:pt x="564" y="515"/>
                  </a:lnTo>
                  <a:lnTo>
                    <a:pt x="576" y="515"/>
                  </a:lnTo>
                  <a:lnTo>
                    <a:pt x="591" y="532"/>
                  </a:lnTo>
                  <a:lnTo>
                    <a:pt x="605" y="538"/>
                  </a:lnTo>
                  <a:lnTo>
                    <a:pt x="608" y="553"/>
                  </a:lnTo>
                  <a:lnTo>
                    <a:pt x="617" y="567"/>
                  </a:lnTo>
                  <a:lnTo>
                    <a:pt x="628" y="588"/>
                  </a:lnTo>
                  <a:lnTo>
                    <a:pt x="634" y="591"/>
                  </a:lnTo>
                  <a:lnTo>
                    <a:pt x="640" y="591"/>
                  </a:lnTo>
                  <a:lnTo>
                    <a:pt x="643" y="588"/>
                  </a:lnTo>
                  <a:lnTo>
                    <a:pt x="684" y="564"/>
                  </a:lnTo>
                  <a:lnTo>
                    <a:pt x="681" y="553"/>
                  </a:lnTo>
                  <a:lnTo>
                    <a:pt x="707" y="544"/>
                  </a:lnTo>
                  <a:lnTo>
                    <a:pt x="727" y="538"/>
                  </a:lnTo>
                  <a:lnTo>
                    <a:pt x="745" y="529"/>
                  </a:lnTo>
                  <a:lnTo>
                    <a:pt x="759" y="515"/>
                  </a:lnTo>
                  <a:lnTo>
                    <a:pt x="771" y="503"/>
                  </a:lnTo>
                  <a:lnTo>
                    <a:pt x="789" y="480"/>
                  </a:lnTo>
                  <a:lnTo>
                    <a:pt x="794" y="471"/>
                  </a:lnTo>
                  <a:lnTo>
                    <a:pt x="783" y="4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Freeform 590"/>
            <p:cNvSpPr>
              <a:spLocks/>
            </p:cNvSpPr>
            <p:nvPr/>
          </p:nvSpPr>
          <p:spPr bwMode="auto">
            <a:xfrm>
              <a:off x="5453242" y="940161"/>
              <a:ext cx="418868" cy="113009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5"/>
                </a:cxn>
                <a:cxn ang="0">
                  <a:pos x="15" y="12"/>
                </a:cxn>
                <a:cxn ang="0">
                  <a:pos x="29" y="3"/>
                </a:cxn>
                <a:cxn ang="0">
                  <a:pos x="29" y="3"/>
                </a:cxn>
                <a:cxn ang="0">
                  <a:pos x="35" y="0"/>
                </a:cxn>
                <a:cxn ang="0">
                  <a:pos x="41" y="3"/>
                </a:cxn>
                <a:cxn ang="0">
                  <a:pos x="50" y="12"/>
                </a:cxn>
                <a:cxn ang="0">
                  <a:pos x="50" y="12"/>
                </a:cxn>
                <a:cxn ang="0">
                  <a:pos x="61" y="15"/>
                </a:cxn>
                <a:cxn ang="0">
                  <a:pos x="76" y="18"/>
                </a:cxn>
                <a:cxn ang="0">
                  <a:pos x="102" y="15"/>
                </a:cxn>
                <a:cxn ang="0">
                  <a:pos x="102" y="15"/>
                </a:cxn>
                <a:cxn ang="0">
                  <a:pos x="114" y="15"/>
                </a:cxn>
                <a:cxn ang="0">
                  <a:pos x="125" y="18"/>
                </a:cxn>
                <a:cxn ang="0">
                  <a:pos x="125" y="18"/>
                </a:cxn>
                <a:cxn ang="0">
                  <a:pos x="140" y="21"/>
                </a:cxn>
                <a:cxn ang="0">
                  <a:pos x="140" y="21"/>
                </a:cxn>
                <a:cxn ang="0">
                  <a:pos x="134" y="27"/>
                </a:cxn>
                <a:cxn ang="0">
                  <a:pos x="128" y="29"/>
                </a:cxn>
                <a:cxn ang="0">
                  <a:pos x="128" y="29"/>
                </a:cxn>
                <a:cxn ang="0">
                  <a:pos x="120" y="29"/>
                </a:cxn>
                <a:cxn ang="0">
                  <a:pos x="111" y="29"/>
                </a:cxn>
                <a:cxn ang="0">
                  <a:pos x="111" y="29"/>
                </a:cxn>
                <a:cxn ang="0">
                  <a:pos x="96" y="29"/>
                </a:cxn>
                <a:cxn ang="0">
                  <a:pos x="79" y="32"/>
                </a:cxn>
                <a:cxn ang="0">
                  <a:pos x="79" y="32"/>
                </a:cxn>
                <a:cxn ang="0">
                  <a:pos x="56" y="38"/>
                </a:cxn>
                <a:cxn ang="0">
                  <a:pos x="44" y="38"/>
                </a:cxn>
                <a:cxn ang="0">
                  <a:pos x="32" y="35"/>
                </a:cxn>
                <a:cxn ang="0">
                  <a:pos x="32" y="35"/>
                </a:cxn>
                <a:cxn ang="0">
                  <a:pos x="21" y="29"/>
                </a:cxn>
                <a:cxn ang="0">
                  <a:pos x="12" y="24"/>
                </a:cxn>
                <a:cxn ang="0">
                  <a:pos x="0" y="15"/>
                </a:cxn>
              </a:cxnLst>
              <a:rect l="0" t="0" r="r" b="b"/>
              <a:pathLst>
                <a:path w="140" h="38">
                  <a:moveTo>
                    <a:pt x="0" y="15"/>
                  </a:moveTo>
                  <a:lnTo>
                    <a:pt x="0" y="15"/>
                  </a:lnTo>
                  <a:lnTo>
                    <a:pt x="15" y="1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5" y="0"/>
                  </a:lnTo>
                  <a:lnTo>
                    <a:pt x="41" y="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61" y="15"/>
                  </a:lnTo>
                  <a:lnTo>
                    <a:pt x="76" y="18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14" y="15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34" y="27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0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96" y="29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56" y="38"/>
                  </a:lnTo>
                  <a:lnTo>
                    <a:pt x="44" y="38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21" y="29"/>
                  </a:lnTo>
                  <a:lnTo>
                    <a:pt x="12" y="24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latin typeface="Calibri" charset="0"/>
                <a:ea typeface="+mn-ea"/>
              </a:endParaRPr>
            </a:p>
          </p:txBody>
        </p:sp>
        <p:sp>
          <p:nvSpPr>
            <p:cNvPr id="2083" name="Freeform 591"/>
            <p:cNvSpPr>
              <a:spLocks noEditPoints="1"/>
            </p:cNvSpPr>
            <p:nvPr/>
          </p:nvSpPr>
          <p:spPr bwMode="auto">
            <a:xfrm>
              <a:off x="5689798" y="877225"/>
              <a:ext cx="298439" cy="340643"/>
            </a:xfrm>
            <a:custGeom>
              <a:avLst/>
              <a:gdLst>
                <a:gd name="T0" fmla="*/ 2147483647 w 99"/>
                <a:gd name="T1" fmla="*/ 2147483647 h 113"/>
                <a:gd name="T2" fmla="*/ 2147483647 w 99"/>
                <a:gd name="T3" fmla="*/ 2147483647 h 113"/>
                <a:gd name="T4" fmla="*/ 2147483647 w 99"/>
                <a:gd name="T5" fmla="*/ 2147483647 h 113"/>
                <a:gd name="T6" fmla="*/ 2147483647 w 99"/>
                <a:gd name="T7" fmla="*/ 0 h 113"/>
                <a:gd name="T8" fmla="*/ 2147483647 w 99"/>
                <a:gd name="T9" fmla="*/ 2147483647 h 113"/>
                <a:gd name="T10" fmla="*/ 2147483647 w 99"/>
                <a:gd name="T11" fmla="*/ 2147483647 h 113"/>
                <a:gd name="T12" fmla="*/ 2147483647 w 99"/>
                <a:gd name="T13" fmla="*/ 2147483647 h 113"/>
                <a:gd name="T14" fmla="*/ 2147483647 w 99"/>
                <a:gd name="T15" fmla="*/ 2147483647 h 113"/>
                <a:gd name="T16" fmla="*/ 0 w 99"/>
                <a:gd name="T17" fmla="*/ 2147483647 h 113"/>
                <a:gd name="T18" fmla="*/ 2147483647 w 99"/>
                <a:gd name="T19" fmla="*/ 2147483647 h 113"/>
                <a:gd name="T20" fmla="*/ 2147483647 w 99"/>
                <a:gd name="T21" fmla="*/ 2147483647 h 113"/>
                <a:gd name="T22" fmla="*/ 2147483647 w 99"/>
                <a:gd name="T23" fmla="*/ 2147483647 h 113"/>
                <a:gd name="T24" fmla="*/ 2147483647 w 99"/>
                <a:gd name="T25" fmla="*/ 2147483647 h 113"/>
                <a:gd name="T26" fmla="*/ 2147483647 w 99"/>
                <a:gd name="T27" fmla="*/ 2147483647 h 113"/>
                <a:gd name="T28" fmla="*/ 2147483647 w 99"/>
                <a:gd name="T29" fmla="*/ 2147483647 h 113"/>
                <a:gd name="T30" fmla="*/ 2147483647 w 99"/>
                <a:gd name="T31" fmla="*/ 2147483647 h 113"/>
                <a:gd name="T32" fmla="*/ 2147483647 w 99"/>
                <a:gd name="T33" fmla="*/ 2147483647 h 113"/>
                <a:gd name="T34" fmla="*/ 2147483647 w 99"/>
                <a:gd name="T35" fmla="*/ 2147483647 h 113"/>
                <a:gd name="T36" fmla="*/ 2147483647 w 99"/>
                <a:gd name="T37" fmla="*/ 2147483647 h 113"/>
                <a:gd name="T38" fmla="*/ 2147483647 w 99"/>
                <a:gd name="T39" fmla="*/ 2147483647 h 113"/>
                <a:gd name="T40" fmla="*/ 2147483647 w 99"/>
                <a:gd name="T41" fmla="*/ 2147483647 h 113"/>
                <a:gd name="T42" fmla="*/ 2147483647 w 99"/>
                <a:gd name="T43" fmla="*/ 2147483647 h 113"/>
                <a:gd name="T44" fmla="*/ 2147483647 w 99"/>
                <a:gd name="T45" fmla="*/ 2147483647 h 113"/>
                <a:gd name="T46" fmla="*/ 2147483647 w 99"/>
                <a:gd name="T47" fmla="*/ 2147483647 h 113"/>
                <a:gd name="T48" fmla="*/ 2147483647 w 99"/>
                <a:gd name="T49" fmla="*/ 2147483647 h 113"/>
                <a:gd name="T50" fmla="*/ 2147483647 w 99"/>
                <a:gd name="T51" fmla="*/ 2147483647 h 113"/>
                <a:gd name="T52" fmla="*/ 2147483647 w 99"/>
                <a:gd name="T53" fmla="*/ 2147483647 h 113"/>
                <a:gd name="T54" fmla="*/ 2147483647 w 99"/>
                <a:gd name="T55" fmla="*/ 2147483647 h 1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9"/>
                <a:gd name="T85" fmla="*/ 0 h 113"/>
                <a:gd name="T86" fmla="*/ 99 w 99"/>
                <a:gd name="T87" fmla="*/ 113 h 1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9" h="113">
                  <a:moveTo>
                    <a:pt x="73" y="38"/>
                  </a:moveTo>
                  <a:lnTo>
                    <a:pt x="70" y="29"/>
                  </a:lnTo>
                  <a:lnTo>
                    <a:pt x="64" y="12"/>
                  </a:lnTo>
                  <a:lnTo>
                    <a:pt x="38" y="0"/>
                  </a:lnTo>
                  <a:lnTo>
                    <a:pt x="41" y="17"/>
                  </a:lnTo>
                  <a:lnTo>
                    <a:pt x="35" y="32"/>
                  </a:lnTo>
                  <a:lnTo>
                    <a:pt x="26" y="49"/>
                  </a:lnTo>
                  <a:lnTo>
                    <a:pt x="6" y="79"/>
                  </a:lnTo>
                  <a:lnTo>
                    <a:pt x="0" y="113"/>
                  </a:lnTo>
                  <a:lnTo>
                    <a:pt x="3" y="108"/>
                  </a:lnTo>
                  <a:lnTo>
                    <a:pt x="17" y="102"/>
                  </a:lnTo>
                  <a:lnTo>
                    <a:pt x="32" y="96"/>
                  </a:lnTo>
                  <a:lnTo>
                    <a:pt x="46" y="93"/>
                  </a:lnTo>
                  <a:lnTo>
                    <a:pt x="58" y="90"/>
                  </a:lnTo>
                  <a:lnTo>
                    <a:pt x="64" y="90"/>
                  </a:lnTo>
                  <a:lnTo>
                    <a:pt x="81" y="79"/>
                  </a:lnTo>
                  <a:lnTo>
                    <a:pt x="93" y="61"/>
                  </a:lnTo>
                  <a:lnTo>
                    <a:pt x="99" y="41"/>
                  </a:lnTo>
                  <a:lnTo>
                    <a:pt x="73" y="38"/>
                  </a:lnTo>
                  <a:close/>
                  <a:moveTo>
                    <a:pt x="79" y="47"/>
                  </a:moveTo>
                  <a:lnTo>
                    <a:pt x="79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84" name="Freeform 592"/>
            <p:cNvSpPr>
              <a:spLocks/>
            </p:cNvSpPr>
            <p:nvPr/>
          </p:nvSpPr>
          <p:spPr bwMode="auto">
            <a:xfrm>
              <a:off x="5768176" y="982734"/>
              <a:ext cx="150727" cy="78378"/>
            </a:xfrm>
            <a:custGeom>
              <a:avLst/>
              <a:gdLst>
                <a:gd name="T0" fmla="*/ 2147483647 w 50"/>
                <a:gd name="T1" fmla="*/ 2147483647 h 26"/>
                <a:gd name="T2" fmla="*/ 2147483647 w 50"/>
                <a:gd name="T3" fmla="*/ 2147483647 h 26"/>
                <a:gd name="T4" fmla="*/ 2147483647 w 50"/>
                <a:gd name="T5" fmla="*/ 2147483647 h 26"/>
                <a:gd name="T6" fmla="*/ 2147483647 w 50"/>
                <a:gd name="T7" fmla="*/ 2147483647 h 26"/>
                <a:gd name="T8" fmla="*/ 2147483647 w 50"/>
                <a:gd name="T9" fmla="*/ 2147483647 h 26"/>
                <a:gd name="T10" fmla="*/ 2147483647 w 50"/>
                <a:gd name="T11" fmla="*/ 2147483647 h 26"/>
                <a:gd name="T12" fmla="*/ 2147483647 w 50"/>
                <a:gd name="T13" fmla="*/ 2147483647 h 26"/>
                <a:gd name="T14" fmla="*/ 2147483647 w 50"/>
                <a:gd name="T15" fmla="*/ 2147483647 h 26"/>
                <a:gd name="T16" fmla="*/ 2147483647 w 50"/>
                <a:gd name="T17" fmla="*/ 2147483647 h 26"/>
                <a:gd name="T18" fmla="*/ 2147483647 w 50"/>
                <a:gd name="T19" fmla="*/ 2147483647 h 26"/>
                <a:gd name="T20" fmla="*/ 2147483647 w 50"/>
                <a:gd name="T21" fmla="*/ 0 h 26"/>
                <a:gd name="T22" fmla="*/ 2147483647 w 50"/>
                <a:gd name="T23" fmla="*/ 0 h 26"/>
                <a:gd name="T24" fmla="*/ 2147483647 w 50"/>
                <a:gd name="T25" fmla="*/ 0 h 26"/>
                <a:gd name="T26" fmla="*/ 2147483647 w 50"/>
                <a:gd name="T27" fmla="*/ 0 h 26"/>
                <a:gd name="T28" fmla="*/ 2147483647 w 50"/>
                <a:gd name="T29" fmla="*/ 2147483647 h 26"/>
                <a:gd name="T30" fmla="*/ 2147483647 w 50"/>
                <a:gd name="T31" fmla="*/ 2147483647 h 26"/>
                <a:gd name="T32" fmla="*/ 2147483647 w 50"/>
                <a:gd name="T33" fmla="*/ 2147483647 h 26"/>
                <a:gd name="T34" fmla="*/ 2147483647 w 50"/>
                <a:gd name="T35" fmla="*/ 2147483647 h 26"/>
                <a:gd name="T36" fmla="*/ 2147483647 w 50"/>
                <a:gd name="T37" fmla="*/ 2147483647 h 26"/>
                <a:gd name="T38" fmla="*/ 2147483647 w 50"/>
                <a:gd name="T39" fmla="*/ 2147483647 h 26"/>
                <a:gd name="T40" fmla="*/ 2147483647 w 50"/>
                <a:gd name="T41" fmla="*/ 2147483647 h 26"/>
                <a:gd name="T42" fmla="*/ 2147483647 w 50"/>
                <a:gd name="T43" fmla="*/ 2147483647 h 26"/>
                <a:gd name="T44" fmla="*/ 2147483647 w 50"/>
                <a:gd name="T45" fmla="*/ 2147483647 h 26"/>
                <a:gd name="T46" fmla="*/ 2147483647 w 50"/>
                <a:gd name="T47" fmla="*/ 2147483647 h 26"/>
                <a:gd name="T48" fmla="*/ 2147483647 w 50"/>
                <a:gd name="T49" fmla="*/ 2147483647 h 26"/>
                <a:gd name="T50" fmla="*/ 0 w 50"/>
                <a:gd name="T51" fmla="*/ 2147483647 h 26"/>
                <a:gd name="T52" fmla="*/ 0 w 50"/>
                <a:gd name="T53" fmla="*/ 2147483647 h 26"/>
                <a:gd name="T54" fmla="*/ 2147483647 w 50"/>
                <a:gd name="T55" fmla="*/ 2147483647 h 26"/>
                <a:gd name="T56" fmla="*/ 2147483647 w 50"/>
                <a:gd name="T57" fmla="*/ 2147483647 h 2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0"/>
                <a:gd name="T88" fmla="*/ 0 h 26"/>
                <a:gd name="T89" fmla="*/ 50 w 50"/>
                <a:gd name="T90" fmla="*/ 26 h 2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0" h="26">
                  <a:moveTo>
                    <a:pt x="9" y="14"/>
                  </a:moveTo>
                  <a:lnTo>
                    <a:pt x="9" y="14"/>
                  </a:lnTo>
                  <a:lnTo>
                    <a:pt x="18" y="17"/>
                  </a:lnTo>
                  <a:lnTo>
                    <a:pt x="29" y="23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7" y="23"/>
                  </a:lnTo>
                  <a:lnTo>
                    <a:pt x="50" y="14"/>
                  </a:lnTo>
                  <a:lnTo>
                    <a:pt x="50" y="6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6"/>
                  </a:lnTo>
                  <a:lnTo>
                    <a:pt x="35" y="9"/>
                  </a:lnTo>
                  <a:lnTo>
                    <a:pt x="32" y="12"/>
                  </a:lnTo>
                  <a:lnTo>
                    <a:pt x="23" y="9"/>
                  </a:lnTo>
                  <a:lnTo>
                    <a:pt x="15" y="3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7"/>
                  </a:lnTo>
                  <a:lnTo>
                    <a:pt x="9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2059" name="Group 49"/>
          <p:cNvGrpSpPr>
            <a:grpSpLocks/>
          </p:cNvGrpSpPr>
          <p:nvPr/>
        </p:nvGrpSpPr>
        <p:grpSpPr bwMode="auto">
          <a:xfrm>
            <a:off x="5590217" y="2128033"/>
            <a:ext cx="339725" cy="555625"/>
            <a:chOff x="5603875" y="1743075"/>
            <a:chExt cx="387350" cy="633413"/>
          </a:xfrm>
          <a:solidFill>
            <a:schemeClr val="bg1"/>
          </a:solidFill>
        </p:grpSpPr>
        <p:sp>
          <p:nvSpPr>
            <p:cNvPr id="31" name="L-Shape 30"/>
            <p:cNvSpPr/>
            <p:nvPr/>
          </p:nvSpPr>
          <p:spPr bwMode="auto">
            <a:xfrm>
              <a:off x="5603875" y="2067020"/>
              <a:ext cx="387350" cy="309468"/>
            </a:xfrm>
            <a:prstGeom prst="corner">
              <a:avLst>
                <a:gd name="adj1" fmla="val 74088"/>
                <a:gd name="adj2" fmla="val 34067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2" name="Cloud 31"/>
            <p:cNvSpPr/>
            <p:nvPr/>
          </p:nvSpPr>
          <p:spPr bwMode="auto">
            <a:xfrm rot="2580872">
              <a:off x="5649127" y="1743075"/>
              <a:ext cx="184625" cy="334803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4356" name="Freeform 6"/>
          <p:cNvSpPr>
            <a:spLocks noEditPoints="1"/>
          </p:cNvSpPr>
          <p:nvPr/>
        </p:nvSpPr>
        <p:spPr bwMode="auto">
          <a:xfrm>
            <a:off x="3244850" y="4497388"/>
            <a:ext cx="293688" cy="579437"/>
          </a:xfrm>
          <a:custGeom>
            <a:avLst/>
            <a:gdLst>
              <a:gd name="T0" fmla="*/ 2147483647 w 1746"/>
              <a:gd name="T1" fmla="*/ 2147483647 h 3442"/>
              <a:gd name="T2" fmla="*/ 2147483647 w 1746"/>
              <a:gd name="T3" fmla="*/ 2147483647 h 3442"/>
              <a:gd name="T4" fmla="*/ 2147483647 w 1746"/>
              <a:gd name="T5" fmla="*/ 2147483647 h 3442"/>
              <a:gd name="T6" fmla="*/ 2147483647 w 1746"/>
              <a:gd name="T7" fmla="*/ 2147483647 h 3442"/>
              <a:gd name="T8" fmla="*/ 2147483647 w 1746"/>
              <a:gd name="T9" fmla="*/ 2147483647 h 3442"/>
              <a:gd name="T10" fmla="*/ 2147483647 w 1746"/>
              <a:gd name="T11" fmla="*/ 2147483647 h 3442"/>
              <a:gd name="T12" fmla="*/ 2147483647 w 1746"/>
              <a:gd name="T13" fmla="*/ 2147483647 h 3442"/>
              <a:gd name="T14" fmla="*/ 2147483647 w 1746"/>
              <a:gd name="T15" fmla="*/ 2147483647 h 3442"/>
              <a:gd name="T16" fmla="*/ 2147483647 w 1746"/>
              <a:gd name="T17" fmla="*/ 2147483647 h 3442"/>
              <a:gd name="T18" fmla="*/ 2147483647 w 1746"/>
              <a:gd name="T19" fmla="*/ 2147483647 h 3442"/>
              <a:gd name="T20" fmla="*/ 2147483647 w 1746"/>
              <a:gd name="T21" fmla="*/ 2147483647 h 3442"/>
              <a:gd name="T22" fmla="*/ 2147483647 w 1746"/>
              <a:gd name="T23" fmla="*/ 2147483647 h 3442"/>
              <a:gd name="T24" fmla="*/ 2147483647 w 1746"/>
              <a:gd name="T25" fmla="*/ 2147483647 h 3442"/>
              <a:gd name="T26" fmla="*/ 2147483647 w 1746"/>
              <a:gd name="T27" fmla="*/ 2147483647 h 3442"/>
              <a:gd name="T28" fmla="*/ 2147483647 w 1746"/>
              <a:gd name="T29" fmla="*/ 2147483647 h 3442"/>
              <a:gd name="T30" fmla="*/ 2147483647 w 1746"/>
              <a:gd name="T31" fmla="*/ 2147483647 h 3442"/>
              <a:gd name="T32" fmla="*/ 2147483647 w 1746"/>
              <a:gd name="T33" fmla="*/ 2147483647 h 3442"/>
              <a:gd name="T34" fmla="*/ 2147483647 w 1746"/>
              <a:gd name="T35" fmla="*/ 2147483647 h 3442"/>
              <a:gd name="T36" fmla="*/ 2147483647 w 1746"/>
              <a:gd name="T37" fmla="*/ 2147483647 h 3442"/>
              <a:gd name="T38" fmla="*/ 0 w 1746"/>
              <a:gd name="T39" fmla="*/ 2147483647 h 3442"/>
              <a:gd name="T40" fmla="*/ 2147483647 w 1746"/>
              <a:gd name="T41" fmla="*/ 2147483647 h 3442"/>
              <a:gd name="T42" fmla="*/ 2147483647 w 1746"/>
              <a:gd name="T43" fmla="*/ 2147483647 h 3442"/>
              <a:gd name="T44" fmla="*/ 2147483647 w 1746"/>
              <a:gd name="T45" fmla="*/ 2147483647 h 3442"/>
              <a:gd name="T46" fmla="*/ 2147483647 w 1746"/>
              <a:gd name="T47" fmla="*/ 2147483647 h 3442"/>
              <a:gd name="T48" fmla="*/ 2147483647 w 1746"/>
              <a:gd name="T49" fmla="*/ 2147483647 h 3442"/>
              <a:gd name="T50" fmla="*/ 2147483647 w 1746"/>
              <a:gd name="T51" fmla="*/ 2147483647 h 3442"/>
              <a:gd name="T52" fmla="*/ 2147483647 w 1746"/>
              <a:gd name="T53" fmla="*/ 2147483647 h 3442"/>
              <a:gd name="T54" fmla="*/ 2147483647 w 1746"/>
              <a:gd name="T55" fmla="*/ 2147483647 h 3442"/>
              <a:gd name="T56" fmla="*/ 2147483647 w 1746"/>
              <a:gd name="T57" fmla="*/ 2147483647 h 3442"/>
              <a:gd name="T58" fmla="*/ 2147483647 w 1746"/>
              <a:gd name="T59" fmla="*/ 2147483647 h 3442"/>
              <a:gd name="T60" fmla="*/ 2147483647 w 1746"/>
              <a:gd name="T61" fmla="*/ 2147483647 h 3442"/>
              <a:gd name="T62" fmla="*/ 2147483647 w 1746"/>
              <a:gd name="T63" fmla="*/ 2147483647 h 3442"/>
              <a:gd name="T64" fmla="*/ 2147483647 w 1746"/>
              <a:gd name="T65" fmla="*/ 2147483647 h 3442"/>
              <a:gd name="T66" fmla="*/ 2147483647 w 1746"/>
              <a:gd name="T67" fmla="*/ 2147483647 h 3442"/>
              <a:gd name="T68" fmla="*/ 2147483647 w 1746"/>
              <a:gd name="T69" fmla="*/ 2147483647 h 3442"/>
              <a:gd name="T70" fmla="*/ 2147483647 w 1746"/>
              <a:gd name="T71" fmla="*/ 2147483647 h 3442"/>
              <a:gd name="T72" fmla="*/ 2147483647 w 1746"/>
              <a:gd name="T73" fmla="*/ 2147483647 h 3442"/>
              <a:gd name="T74" fmla="*/ 2147483647 w 1746"/>
              <a:gd name="T75" fmla="*/ 2147483647 h 3442"/>
              <a:gd name="T76" fmla="*/ 2147483647 w 1746"/>
              <a:gd name="T77" fmla="*/ 2147483647 h 3442"/>
              <a:gd name="T78" fmla="*/ 2147483647 w 1746"/>
              <a:gd name="T79" fmla="*/ 2147483647 h 3442"/>
              <a:gd name="T80" fmla="*/ 2147483647 w 1746"/>
              <a:gd name="T81" fmla="*/ 2147483647 h 3442"/>
              <a:gd name="T82" fmla="*/ 2147483647 w 1746"/>
              <a:gd name="T83" fmla="*/ 2147483647 h 3442"/>
              <a:gd name="T84" fmla="*/ 2147483647 w 1746"/>
              <a:gd name="T85" fmla="*/ 2147483647 h 3442"/>
              <a:gd name="T86" fmla="*/ 2147483647 w 1746"/>
              <a:gd name="T87" fmla="*/ 2147483647 h 3442"/>
              <a:gd name="T88" fmla="*/ 2147483647 w 1746"/>
              <a:gd name="T89" fmla="*/ 2147483647 h 3442"/>
              <a:gd name="T90" fmla="*/ 2147483647 w 1746"/>
              <a:gd name="T91" fmla="*/ 2147483647 h 3442"/>
              <a:gd name="T92" fmla="*/ 2147483647 w 1746"/>
              <a:gd name="T93" fmla="*/ 2147483647 h 3442"/>
              <a:gd name="T94" fmla="*/ 2147483647 w 1746"/>
              <a:gd name="T95" fmla="*/ 2147483647 h 3442"/>
              <a:gd name="T96" fmla="*/ 2147483647 w 1746"/>
              <a:gd name="T97" fmla="*/ 2147483647 h 3442"/>
              <a:gd name="T98" fmla="*/ 2147483647 w 1746"/>
              <a:gd name="T99" fmla="*/ 2147483647 h 3442"/>
              <a:gd name="T100" fmla="*/ 2147483647 w 1746"/>
              <a:gd name="T101" fmla="*/ 2147483647 h 3442"/>
              <a:gd name="T102" fmla="*/ 2147483647 w 1746"/>
              <a:gd name="T103" fmla="*/ 2147483647 h 3442"/>
              <a:gd name="T104" fmla="*/ 2147483647 w 1746"/>
              <a:gd name="T105" fmla="*/ 2147483647 h 3442"/>
              <a:gd name="T106" fmla="*/ 2147483647 w 1746"/>
              <a:gd name="T107" fmla="*/ 2147483647 h 3442"/>
              <a:gd name="T108" fmla="*/ 2147483647 w 1746"/>
              <a:gd name="T109" fmla="*/ 2147483647 h 3442"/>
              <a:gd name="T110" fmla="*/ 2147483647 w 1746"/>
              <a:gd name="T111" fmla="*/ 2147483647 h 3442"/>
              <a:gd name="T112" fmla="*/ 2147483647 w 1746"/>
              <a:gd name="T113" fmla="*/ 2147483647 h 3442"/>
              <a:gd name="T114" fmla="*/ 2147483647 w 1746"/>
              <a:gd name="T115" fmla="*/ 2147483647 h 3442"/>
              <a:gd name="T116" fmla="*/ 2147483647 w 1746"/>
              <a:gd name="T117" fmla="*/ 2147483647 h 3442"/>
              <a:gd name="T118" fmla="*/ 2147483647 w 1746"/>
              <a:gd name="T119" fmla="*/ 2147483647 h 34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746"/>
              <a:gd name="T181" fmla="*/ 0 h 3442"/>
              <a:gd name="T182" fmla="*/ 1746 w 1746"/>
              <a:gd name="T183" fmla="*/ 3442 h 34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746" h="3442">
                <a:moveTo>
                  <a:pt x="1746" y="1446"/>
                </a:moveTo>
                <a:lnTo>
                  <a:pt x="1746" y="1446"/>
                </a:lnTo>
                <a:lnTo>
                  <a:pt x="1746" y="1392"/>
                </a:lnTo>
                <a:lnTo>
                  <a:pt x="1746" y="1266"/>
                </a:lnTo>
                <a:lnTo>
                  <a:pt x="1744" y="1240"/>
                </a:lnTo>
                <a:lnTo>
                  <a:pt x="1738" y="1214"/>
                </a:lnTo>
                <a:lnTo>
                  <a:pt x="1714" y="1146"/>
                </a:lnTo>
                <a:lnTo>
                  <a:pt x="1706" y="1120"/>
                </a:lnTo>
                <a:lnTo>
                  <a:pt x="1702" y="1094"/>
                </a:lnTo>
                <a:lnTo>
                  <a:pt x="1694" y="1002"/>
                </a:lnTo>
                <a:lnTo>
                  <a:pt x="1688" y="948"/>
                </a:lnTo>
                <a:lnTo>
                  <a:pt x="1670" y="822"/>
                </a:lnTo>
                <a:lnTo>
                  <a:pt x="1668" y="794"/>
                </a:lnTo>
                <a:lnTo>
                  <a:pt x="1666" y="766"/>
                </a:lnTo>
                <a:lnTo>
                  <a:pt x="1666" y="738"/>
                </a:lnTo>
                <a:lnTo>
                  <a:pt x="1664" y="714"/>
                </a:lnTo>
                <a:lnTo>
                  <a:pt x="1662" y="704"/>
                </a:lnTo>
                <a:lnTo>
                  <a:pt x="1658" y="696"/>
                </a:lnTo>
                <a:lnTo>
                  <a:pt x="1648" y="686"/>
                </a:lnTo>
                <a:lnTo>
                  <a:pt x="1636" y="678"/>
                </a:lnTo>
                <a:lnTo>
                  <a:pt x="1616" y="668"/>
                </a:lnTo>
                <a:lnTo>
                  <a:pt x="1602" y="660"/>
                </a:lnTo>
                <a:lnTo>
                  <a:pt x="1582" y="652"/>
                </a:lnTo>
                <a:lnTo>
                  <a:pt x="1426" y="588"/>
                </a:lnTo>
                <a:lnTo>
                  <a:pt x="1416" y="582"/>
                </a:lnTo>
                <a:lnTo>
                  <a:pt x="1406" y="574"/>
                </a:lnTo>
                <a:lnTo>
                  <a:pt x="1398" y="564"/>
                </a:lnTo>
                <a:lnTo>
                  <a:pt x="1394" y="554"/>
                </a:lnTo>
                <a:lnTo>
                  <a:pt x="1392" y="542"/>
                </a:lnTo>
                <a:lnTo>
                  <a:pt x="1394" y="532"/>
                </a:lnTo>
                <a:lnTo>
                  <a:pt x="1396" y="524"/>
                </a:lnTo>
                <a:lnTo>
                  <a:pt x="1402" y="516"/>
                </a:lnTo>
                <a:lnTo>
                  <a:pt x="1416" y="500"/>
                </a:lnTo>
                <a:lnTo>
                  <a:pt x="1430" y="480"/>
                </a:lnTo>
                <a:lnTo>
                  <a:pt x="1442" y="458"/>
                </a:lnTo>
                <a:lnTo>
                  <a:pt x="1448" y="446"/>
                </a:lnTo>
                <a:lnTo>
                  <a:pt x="1452" y="432"/>
                </a:lnTo>
                <a:lnTo>
                  <a:pt x="1456" y="418"/>
                </a:lnTo>
                <a:lnTo>
                  <a:pt x="1460" y="406"/>
                </a:lnTo>
                <a:lnTo>
                  <a:pt x="1468" y="340"/>
                </a:lnTo>
                <a:lnTo>
                  <a:pt x="1470" y="312"/>
                </a:lnTo>
                <a:lnTo>
                  <a:pt x="1472" y="286"/>
                </a:lnTo>
                <a:lnTo>
                  <a:pt x="1472" y="266"/>
                </a:lnTo>
                <a:lnTo>
                  <a:pt x="1470" y="244"/>
                </a:lnTo>
                <a:lnTo>
                  <a:pt x="1466" y="234"/>
                </a:lnTo>
                <a:lnTo>
                  <a:pt x="1464" y="228"/>
                </a:lnTo>
                <a:lnTo>
                  <a:pt x="1456" y="214"/>
                </a:lnTo>
                <a:lnTo>
                  <a:pt x="1448" y="198"/>
                </a:lnTo>
                <a:lnTo>
                  <a:pt x="1440" y="182"/>
                </a:lnTo>
                <a:lnTo>
                  <a:pt x="1430" y="168"/>
                </a:lnTo>
                <a:lnTo>
                  <a:pt x="1416" y="156"/>
                </a:lnTo>
                <a:lnTo>
                  <a:pt x="1402" y="148"/>
                </a:lnTo>
                <a:lnTo>
                  <a:pt x="1366" y="138"/>
                </a:lnTo>
                <a:lnTo>
                  <a:pt x="1356" y="136"/>
                </a:lnTo>
                <a:lnTo>
                  <a:pt x="1344" y="136"/>
                </a:lnTo>
                <a:lnTo>
                  <a:pt x="1332" y="140"/>
                </a:lnTo>
                <a:lnTo>
                  <a:pt x="1320" y="142"/>
                </a:lnTo>
                <a:lnTo>
                  <a:pt x="1316" y="144"/>
                </a:lnTo>
                <a:lnTo>
                  <a:pt x="1266" y="168"/>
                </a:lnTo>
                <a:lnTo>
                  <a:pt x="1246" y="178"/>
                </a:lnTo>
                <a:lnTo>
                  <a:pt x="1236" y="184"/>
                </a:lnTo>
                <a:lnTo>
                  <a:pt x="1226" y="192"/>
                </a:lnTo>
                <a:lnTo>
                  <a:pt x="1218" y="202"/>
                </a:lnTo>
                <a:lnTo>
                  <a:pt x="1214" y="210"/>
                </a:lnTo>
                <a:lnTo>
                  <a:pt x="1196" y="254"/>
                </a:lnTo>
                <a:lnTo>
                  <a:pt x="1188" y="274"/>
                </a:lnTo>
                <a:lnTo>
                  <a:pt x="1180" y="294"/>
                </a:lnTo>
                <a:lnTo>
                  <a:pt x="1176" y="298"/>
                </a:lnTo>
                <a:lnTo>
                  <a:pt x="1174" y="300"/>
                </a:lnTo>
                <a:lnTo>
                  <a:pt x="1168" y="302"/>
                </a:lnTo>
                <a:lnTo>
                  <a:pt x="1166" y="306"/>
                </a:lnTo>
                <a:lnTo>
                  <a:pt x="1164" y="316"/>
                </a:lnTo>
                <a:lnTo>
                  <a:pt x="1160" y="330"/>
                </a:lnTo>
                <a:lnTo>
                  <a:pt x="1156" y="340"/>
                </a:lnTo>
                <a:lnTo>
                  <a:pt x="1156" y="348"/>
                </a:lnTo>
                <a:lnTo>
                  <a:pt x="1156" y="358"/>
                </a:lnTo>
                <a:lnTo>
                  <a:pt x="1160" y="368"/>
                </a:lnTo>
                <a:lnTo>
                  <a:pt x="1164" y="382"/>
                </a:lnTo>
                <a:lnTo>
                  <a:pt x="1166" y="392"/>
                </a:lnTo>
                <a:lnTo>
                  <a:pt x="1168" y="392"/>
                </a:lnTo>
                <a:lnTo>
                  <a:pt x="1170" y="394"/>
                </a:lnTo>
                <a:lnTo>
                  <a:pt x="1180" y="392"/>
                </a:lnTo>
                <a:lnTo>
                  <a:pt x="1186" y="390"/>
                </a:lnTo>
                <a:lnTo>
                  <a:pt x="1190" y="396"/>
                </a:lnTo>
                <a:lnTo>
                  <a:pt x="1192" y="402"/>
                </a:lnTo>
                <a:lnTo>
                  <a:pt x="1194" y="412"/>
                </a:lnTo>
                <a:lnTo>
                  <a:pt x="1194" y="440"/>
                </a:lnTo>
                <a:lnTo>
                  <a:pt x="1192" y="452"/>
                </a:lnTo>
                <a:lnTo>
                  <a:pt x="1190" y="464"/>
                </a:lnTo>
                <a:lnTo>
                  <a:pt x="1186" y="476"/>
                </a:lnTo>
                <a:lnTo>
                  <a:pt x="1180" y="486"/>
                </a:lnTo>
                <a:lnTo>
                  <a:pt x="1152" y="522"/>
                </a:lnTo>
                <a:lnTo>
                  <a:pt x="1136" y="540"/>
                </a:lnTo>
                <a:lnTo>
                  <a:pt x="1114" y="556"/>
                </a:lnTo>
                <a:lnTo>
                  <a:pt x="1106" y="562"/>
                </a:lnTo>
                <a:lnTo>
                  <a:pt x="1082" y="576"/>
                </a:lnTo>
                <a:lnTo>
                  <a:pt x="1056" y="586"/>
                </a:lnTo>
                <a:lnTo>
                  <a:pt x="970" y="616"/>
                </a:lnTo>
                <a:lnTo>
                  <a:pt x="958" y="618"/>
                </a:lnTo>
                <a:lnTo>
                  <a:pt x="944" y="620"/>
                </a:lnTo>
                <a:lnTo>
                  <a:pt x="930" y="618"/>
                </a:lnTo>
                <a:lnTo>
                  <a:pt x="918" y="614"/>
                </a:lnTo>
                <a:lnTo>
                  <a:pt x="844" y="578"/>
                </a:lnTo>
                <a:lnTo>
                  <a:pt x="794" y="554"/>
                </a:lnTo>
                <a:lnTo>
                  <a:pt x="732" y="528"/>
                </a:lnTo>
                <a:lnTo>
                  <a:pt x="708" y="518"/>
                </a:lnTo>
                <a:lnTo>
                  <a:pt x="680" y="510"/>
                </a:lnTo>
                <a:lnTo>
                  <a:pt x="632" y="498"/>
                </a:lnTo>
                <a:lnTo>
                  <a:pt x="622" y="494"/>
                </a:lnTo>
                <a:lnTo>
                  <a:pt x="612" y="488"/>
                </a:lnTo>
                <a:lnTo>
                  <a:pt x="604" y="478"/>
                </a:lnTo>
                <a:lnTo>
                  <a:pt x="598" y="468"/>
                </a:lnTo>
                <a:lnTo>
                  <a:pt x="586" y="450"/>
                </a:lnTo>
                <a:lnTo>
                  <a:pt x="578" y="440"/>
                </a:lnTo>
                <a:lnTo>
                  <a:pt x="574" y="434"/>
                </a:lnTo>
                <a:lnTo>
                  <a:pt x="572" y="426"/>
                </a:lnTo>
                <a:lnTo>
                  <a:pt x="570" y="406"/>
                </a:lnTo>
                <a:lnTo>
                  <a:pt x="570" y="340"/>
                </a:lnTo>
                <a:lnTo>
                  <a:pt x="572" y="328"/>
                </a:lnTo>
                <a:lnTo>
                  <a:pt x="574" y="314"/>
                </a:lnTo>
                <a:lnTo>
                  <a:pt x="578" y="300"/>
                </a:lnTo>
                <a:lnTo>
                  <a:pt x="584" y="288"/>
                </a:lnTo>
                <a:lnTo>
                  <a:pt x="588" y="278"/>
                </a:lnTo>
                <a:lnTo>
                  <a:pt x="594" y="264"/>
                </a:lnTo>
                <a:lnTo>
                  <a:pt x="596" y="252"/>
                </a:lnTo>
                <a:lnTo>
                  <a:pt x="596" y="240"/>
                </a:lnTo>
                <a:lnTo>
                  <a:pt x="596" y="210"/>
                </a:lnTo>
                <a:lnTo>
                  <a:pt x="596" y="206"/>
                </a:lnTo>
                <a:lnTo>
                  <a:pt x="594" y="204"/>
                </a:lnTo>
                <a:lnTo>
                  <a:pt x="584" y="196"/>
                </a:lnTo>
                <a:lnTo>
                  <a:pt x="578" y="192"/>
                </a:lnTo>
                <a:lnTo>
                  <a:pt x="572" y="184"/>
                </a:lnTo>
                <a:lnTo>
                  <a:pt x="568" y="176"/>
                </a:lnTo>
                <a:lnTo>
                  <a:pt x="566" y="164"/>
                </a:lnTo>
                <a:lnTo>
                  <a:pt x="560" y="146"/>
                </a:lnTo>
                <a:lnTo>
                  <a:pt x="548" y="94"/>
                </a:lnTo>
                <a:lnTo>
                  <a:pt x="540" y="72"/>
                </a:lnTo>
                <a:lnTo>
                  <a:pt x="528" y="52"/>
                </a:lnTo>
                <a:lnTo>
                  <a:pt x="516" y="38"/>
                </a:lnTo>
                <a:lnTo>
                  <a:pt x="510" y="34"/>
                </a:lnTo>
                <a:lnTo>
                  <a:pt x="506" y="34"/>
                </a:lnTo>
                <a:lnTo>
                  <a:pt x="498" y="32"/>
                </a:lnTo>
                <a:lnTo>
                  <a:pt x="486" y="28"/>
                </a:lnTo>
                <a:lnTo>
                  <a:pt x="476" y="24"/>
                </a:lnTo>
                <a:lnTo>
                  <a:pt x="466" y="22"/>
                </a:lnTo>
                <a:lnTo>
                  <a:pt x="454" y="20"/>
                </a:lnTo>
                <a:lnTo>
                  <a:pt x="438" y="10"/>
                </a:lnTo>
                <a:lnTo>
                  <a:pt x="428" y="6"/>
                </a:lnTo>
                <a:lnTo>
                  <a:pt x="416" y="2"/>
                </a:lnTo>
                <a:lnTo>
                  <a:pt x="404" y="0"/>
                </a:lnTo>
                <a:lnTo>
                  <a:pt x="390" y="0"/>
                </a:lnTo>
                <a:lnTo>
                  <a:pt x="388" y="0"/>
                </a:lnTo>
                <a:lnTo>
                  <a:pt x="348" y="0"/>
                </a:lnTo>
                <a:lnTo>
                  <a:pt x="332" y="2"/>
                </a:lnTo>
                <a:lnTo>
                  <a:pt x="314" y="10"/>
                </a:lnTo>
                <a:lnTo>
                  <a:pt x="292" y="24"/>
                </a:lnTo>
                <a:lnTo>
                  <a:pt x="272" y="40"/>
                </a:lnTo>
                <a:lnTo>
                  <a:pt x="252" y="58"/>
                </a:lnTo>
                <a:lnTo>
                  <a:pt x="238" y="76"/>
                </a:lnTo>
                <a:lnTo>
                  <a:pt x="228" y="94"/>
                </a:lnTo>
                <a:lnTo>
                  <a:pt x="226" y="100"/>
                </a:lnTo>
                <a:lnTo>
                  <a:pt x="224" y="106"/>
                </a:lnTo>
                <a:lnTo>
                  <a:pt x="222" y="120"/>
                </a:lnTo>
                <a:lnTo>
                  <a:pt x="216" y="136"/>
                </a:lnTo>
                <a:lnTo>
                  <a:pt x="214" y="146"/>
                </a:lnTo>
                <a:lnTo>
                  <a:pt x="212" y="158"/>
                </a:lnTo>
                <a:lnTo>
                  <a:pt x="212" y="170"/>
                </a:lnTo>
                <a:lnTo>
                  <a:pt x="214" y="182"/>
                </a:lnTo>
                <a:lnTo>
                  <a:pt x="220" y="224"/>
                </a:lnTo>
                <a:lnTo>
                  <a:pt x="224" y="250"/>
                </a:lnTo>
                <a:lnTo>
                  <a:pt x="224" y="276"/>
                </a:lnTo>
                <a:lnTo>
                  <a:pt x="226" y="298"/>
                </a:lnTo>
                <a:lnTo>
                  <a:pt x="230" y="318"/>
                </a:lnTo>
                <a:lnTo>
                  <a:pt x="240" y="334"/>
                </a:lnTo>
                <a:lnTo>
                  <a:pt x="250" y="348"/>
                </a:lnTo>
                <a:lnTo>
                  <a:pt x="262" y="362"/>
                </a:lnTo>
                <a:lnTo>
                  <a:pt x="272" y="378"/>
                </a:lnTo>
                <a:lnTo>
                  <a:pt x="282" y="398"/>
                </a:lnTo>
                <a:lnTo>
                  <a:pt x="298" y="418"/>
                </a:lnTo>
                <a:lnTo>
                  <a:pt x="304" y="424"/>
                </a:lnTo>
                <a:lnTo>
                  <a:pt x="310" y="434"/>
                </a:lnTo>
                <a:lnTo>
                  <a:pt x="316" y="446"/>
                </a:lnTo>
                <a:lnTo>
                  <a:pt x="320" y="460"/>
                </a:lnTo>
                <a:lnTo>
                  <a:pt x="322" y="472"/>
                </a:lnTo>
                <a:lnTo>
                  <a:pt x="322" y="502"/>
                </a:lnTo>
                <a:lnTo>
                  <a:pt x="320" y="526"/>
                </a:lnTo>
                <a:lnTo>
                  <a:pt x="318" y="538"/>
                </a:lnTo>
                <a:lnTo>
                  <a:pt x="314" y="548"/>
                </a:lnTo>
                <a:lnTo>
                  <a:pt x="308" y="556"/>
                </a:lnTo>
                <a:lnTo>
                  <a:pt x="300" y="564"/>
                </a:lnTo>
                <a:lnTo>
                  <a:pt x="292" y="570"/>
                </a:lnTo>
                <a:lnTo>
                  <a:pt x="280" y="576"/>
                </a:lnTo>
                <a:lnTo>
                  <a:pt x="220" y="602"/>
                </a:lnTo>
                <a:lnTo>
                  <a:pt x="200" y="610"/>
                </a:lnTo>
                <a:lnTo>
                  <a:pt x="190" y="614"/>
                </a:lnTo>
                <a:lnTo>
                  <a:pt x="178" y="618"/>
                </a:lnTo>
                <a:lnTo>
                  <a:pt x="160" y="628"/>
                </a:lnTo>
                <a:lnTo>
                  <a:pt x="150" y="634"/>
                </a:lnTo>
                <a:lnTo>
                  <a:pt x="128" y="652"/>
                </a:lnTo>
                <a:lnTo>
                  <a:pt x="110" y="670"/>
                </a:lnTo>
                <a:lnTo>
                  <a:pt x="104" y="678"/>
                </a:lnTo>
                <a:lnTo>
                  <a:pt x="86" y="696"/>
                </a:lnTo>
                <a:lnTo>
                  <a:pt x="70" y="710"/>
                </a:lnTo>
                <a:lnTo>
                  <a:pt x="66" y="716"/>
                </a:lnTo>
                <a:lnTo>
                  <a:pt x="60" y="724"/>
                </a:lnTo>
                <a:lnTo>
                  <a:pt x="58" y="732"/>
                </a:lnTo>
                <a:lnTo>
                  <a:pt x="56" y="740"/>
                </a:lnTo>
                <a:lnTo>
                  <a:pt x="56" y="786"/>
                </a:lnTo>
                <a:lnTo>
                  <a:pt x="56" y="802"/>
                </a:lnTo>
                <a:lnTo>
                  <a:pt x="58" y="858"/>
                </a:lnTo>
                <a:lnTo>
                  <a:pt x="70" y="958"/>
                </a:lnTo>
                <a:lnTo>
                  <a:pt x="70" y="986"/>
                </a:lnTo>
                <a:lnTo>
                  <a:pt x="68" y="1014"/>
                </a:lnTo>
                <a:lnTo>
                  <a:pt x="48" y="1116"/>
                </a:lnTo>
                <a:lnTo>
                  <a:pt x="38" y="1170"/>
                </a:lnTo>
                <a:lnTo>
                  <a:pt x="6" y="1344"/>
                </a:lnTo>
                <a:lnTo>
                  <a:pt x="2" y="1370"/>
                </a:lnTo>
                <a:lnTo>
                  <a:pt x="0" y="1396"/>
                </a:lnTo>
                <a:lnTo>
                  <a:pt x="0" y="1444"/>
                </a:lnTo>
                <a:lnTo>
                  <a:pt x="2" y="1470"/>
                </a:lnTo>
                <a:lnTo>
                  <a:pt x="8" y="1494"/>
                </a:lnTo>
                <a:lnTo>
                  <a:pt x="16" y="1518"/>
                </a:lnTo>
                <a:lnTo>
                  <a:pt x="28" y="1542"/>
                </a:lnTo>
                <a:lnTo>
                  <a:pt x="30" y="1542"/>
                </a:lnTo>
                <a:lnTo>
                  <a:pt x="60" y="1588"/>
                </a:lnTo>
                <a:lnTo>
                  <a:pt x="70" y="1602"/>
                </a:lnTo>
                <a:lnTo>
                  <a:pt x="76" y="1614"/>
                </a:lnTo>
                <a:lnTo>
                  <a:pt x="82" y="1626"/>
                </a:lnTo>
                <a:lnTo>
                  <a:pt x="88" y="1640"/>
                </a:lnTo>
                <a:lnTo>
                  <a:pt x="90" y="1652"/>
                </a:lnTo>
                <a:lnTo>
                  <a:pt x="92" y="1660"/>
                </a:lnTo>
                <a:lnTo>
                  <a:pt x="96" y="1688"/>
                </a:lnTo>
                <a:lnTo>
                  <a:pt x="98" y="1714"/>
                </a:lnTo>
                <a:lnTo>
                  <a:pt x="98" y="1804"/>
                </a:lnTo>
                <a:lnTo>
                  <a:pt x="100" y="1830"/>
                </a:lnTo>
                <a:lnTo>
                  <a:pt x="104" y="1858"/>
                </a:lnTo>
                <a:lnTo>
                  <a:pt x="120" y="1924"/>
                </a:lnTo>
                <a:lnTo>
                  <a:pt x="132" y="1978"/>
                </a:lnTo>
                <a:lnTo>
                  <a:pt x="136" y="1996"/>
                </a:lnTo>
                <a:lnTo>
                  <a:pt x="138" y="2022"/>
                </a:lnTo>
                <a:lnTo>
                  <a:pt x="140" y="2050"/>
                </a:lnTo>
                <a:lnTo>
                  <a:pt x="140" y="2056"/>
                </a:lnTo>
                <a:lnTo>
                  <a:pt x="140" y="2102"/>
                </a:lnTo>
                <a:lnTo>
                  <a:pt x="142" y="2124"/>
                </a:lnTo>
                <a:lnTo>
                  <a:pt x="144" y="2148"/>
                </a:lnTo>
                <a:lnTo>
                  <a:pt x="164" y="2262"/>
                </a:lnTo>
                <a:lnTo>
                  <a:pt x="172" y="2318"/>
                </a:lnTo>
                <a:lnTo>
                  <a:pt x="180" y="2418"/>
                </a:lnTo>
                <a:lnTo>
                  <a:pt x="184" y="2472"/>
                </a:lnTo>
                <a:lnTo>
                  <a:pt x="194" y="2660"/>
                </a:lnTo>
                <a:lnTo>
                  <a:pt x="198" y="2686"/>
                </a:lnTo>
                <a:lnTo>
                  <a:pt x="206" y="2712"/>
                </a:lnTo>
                <a:lnTo>
                  <a:pt x="254" y="2842"/>
                </a:lnTo>
                <a:lnTo>
                  <a:pt x="256" y="2854"/>
                </a:lnTo>
                <a:lnTo>
                  <a:pt x="258" y="2868"/>
                </a:lnTo>
                <a:lnTo>
                  <a:pt x="256" y="2880"/>
                </a:lnTo>
                <a:lnTo>
                  <a:pt x="254" y="2892"/>
                </a:lnTo>
                <a:lnTo>
                  <a:pt x="234" y="2938"/>
                </a:lnTo>
                <a:lnTo>
                  <a:pt x="222" y="2962"/>
                </a:lnTo>
                <a:lnTo>
                  <a:pt x="206" y="2984"/>
                </a:lnTo>
                <a:lnTo>
                  <a:pt x="200" y="2990"/>
                </a:lnTo>
                <a:lnTo>
                  <a:pt x="194" y="3000"/>
                </a:lnTo>
                <a:lnTo>
                  <a:pt x="188" y="3014"/>
                </a:lnTo>
                <a:lnTo>
                  <a:pt x="184" y="3026"/>
                </a:lnTo>
                <a:lnTo>
                  <a:pt x="182" y="3038"/>
                </a:lnTo>
                <a:lnTo>
                  <a:pt x="182" y="3094"/>
                </a:lnTo>
                <a:lnTo>
                  <a:pt x="184" y="3104"/>
                </a:lnTo>
                <a:lnTo>
                  <a:pt x="190" y="3114"/>
                </a:lnTo>
                <a:lnTo>
                  <a:pt x="200" y="3120"/>
                </a:lnTo>
                <a:lnTo>
                  <a:pt x="210" y="3124"/>
                </a:lnTo>
                <a:lnTo>
                  <a:pt x="252" y="3128"/>
                </a:lnTo>
                <a:lnTo>
                  <a:pt x="264" y="3128"/>
                </a:lnTo>
                <a:lnTo>
                  <a:pt x="278" y="3126"/>
                </a:lnTo>
                <a:lnTo>
                  <a:pt x="290" y="3120"/>
                </a:lnTo>
                <a:lnTo>
                  <a:pt x="300" y="3114"/>
                </a:lnTo>
                <a:lnTo>
                  <a:pt x="314" y="3102"/>
                </a:lnTo>
                <a:lnTo>
                  <a:pt x="348" y="3072"/>
                </a:lnTo>
                <a:lnTo>
                  <a:pt x="360" y="3060"/>
                </a:lnTo>
                <a:lnTo>
                  <a:pt x="368" y="3048"/>
                </a:lnTo>
                <a:lnTo>
                  <a:pt x="372" y="3042"/>
                </a:lnTo>
                <a:lnTo>
                  <a:pt x="374" y="3034"/>
                </a:lnTo>
                <a:lnTo>
                  <a:pt x="376" y="3018"/>
                </a:lnTo>
                <a:lnTo>
                  <a:pt x="378" y="3000"/>
                </a:lnTo>
                <a:lnTo>
                  <a:pt x="384" y="2982"/>
                </a:lnTo>
                <a:lnTo>
                  <a:pt x="390" y="2968"/>
                </a:lnTo>
                <a:lnTo>
                  <a:pt x="394" y="2964"/>
                </a:lnTo>
                <a:lnTo>
                  <a:pt x="396" y="2964"/>
                </a:lnTo>
                <a:lnTo>
                  <a:pt x="406" y="2958"/>
                </a:lnTo>
                <a:lnTo>
                  <a:pt x="424" y="2946"/>
                </a:lnTo>
                <a:lnTo>
                  <a:pt x="424" y="2944"/>
                </a:lnTo>
                <a:lnTo>
                  <a:pt x="432" y="2936"/>
                </a:lnTo>
                <a:lnTo>
                  <a:pt x="440" y="2926"/>
                </a:lnTo>
                <a:lnTo>
                  <a:pt x="448" y="2914"/>
                </a:lnTo>
                <a:lnTo>
                  <a:pt x="452" y="2902"/>
                </a:lnTo>
                <a:lnTo>
                  <a:pt x="454" y="2892"/>
                </a:lnTo>
                <a:lnTo>
                  <a:pt x="452" y="2878"/>
                </a:lnTo>
                <a:lnTo>
                  <a:pt x="450" y="2866"/>
                </a:lnTo>
                <a:lnTo>
                  <a:pt x="446" y="2854"/>
                </a:lnTo>
                <a:lnTo>
                  <a:pt x="442" y="2844"/>
                </a:lnTo>
                <a:lnTo>
                  <a:pt x="438" y="2832"/>
                </a:lnTo>
                <a:lnTo>
                  <a:pt x="434" y="2818"/>
                </a:lnTo>
                <a:lnTo>
                  <a:pt x="432" y="2804"/>
                </a:lnTo>
                <a:lnTo>
                  <a:pt x="432" y="2792"/>
                </a:lnTo>
                <a:lnTo>
                  <a:pt x="432" y="2762"/>
                </a:lnTo>
                <a:lnTo>
                  <a:pt x="432" y="2708"/>
                </a:lnTo>
                <a:lnTo>
                  <a:pt x="432" y="2700"/>
                </a:lnTo>
                <a:lnTo>
                  <a:pt x="430" y="2674"/>
                </a:lnTo>
                <a:lnTo>
                  <a:pt x="424" y="2646"/>
                </a:lnTo>
                <a:lnTo>
                  <a:pt x="410" y="2592"/>
                </a:lnTo>
                <a:lnTo>
                  <a:pt x="404" y="2566"/>
                </a:lnTo>
                <a:lnTo>
                  <a:pt x="402" y="2538"/>
                </a:lnTo>
                <a:lnTo>
                  <a:pt x="402" y="2472"/>
                </a:lnTo>
                <a:lnTo>
                  <a:pt x="400" y="2418"/>
                </a:lnTo>
                <a:lnTo>
                  <a:pt x="392" y="2304"/>
                </a:lnTo>
                <a:lnTo>
                  <a:pt x="392" y="2276"/>
                </a:lnTo>
                <a:lnTo>
                  <a:pt x="396" y="2250"/>
                </a:lnTo>
                <a:lnTo>
                  <a:pt x="412" y="2160"/>
                </a:lnTo>
                <a:lnTo>
                  <a:pt x="416" y="2132"/>
                </a:lnTo>
                <a:lnTo>
                  <a:pt x="418" y="2104"/>
                </a:lnTo>
                <a:lnTo>
                  <a:pt x="418" y="2038"/>
                </a:lnTo>
                <a:lnTo>
                  <a:pt x="418" y="1984"/>
                </a:lnTo>
                <a:lnTo>
                  <a:pt x="418" y="1980"/>
                </a:lnTo>
                <a:lnTo>
                  <a:pt x="420" y="1956"/>
                </a:lnTo>
                <a:lnTo>
                  <a:pt x="422" y="1946"/>
                </a:lnTo>
                <a:lnTo>
                  <a:pt x="426" y="1938"/>
                </a:lnTo>
                <a:lnTo>
                  <a:pt x="428" y="1936"/>
                </a:lnTo>
                <a:lnTo>
                  <a:pt x="432" y="1934"/>
                </a:lnTo>
                <a:lnTo>
                  <a:pt x="436" y="1936"/>
                </a:lnTo>
                <a:lnTo>
                  <a:pt x="438" y="1938"/>
                </a:lnTo>
                <a:lnTo>
                  <a:pt x="446" y="1956"/>
                </a:lnTo>
                <a:lnTo>
                  <a:pt x="454" y="1978"/>
                </a:lnTo>
                <a:lnTo>
                  <a:pt x="492" y="2094"/>
                </a:lnTo>
                <a:lnTo>
                  <a:pt x="506" y="2144"/>
                </a:lnTo>
                <a:lnTo>
                  <a:pt x="512" y="2166"/>
                </a:lnTo>
                <a:lnTo>
                  <a:pt x="514" y="2186"/>
                </a:lnTo>
                <a:lnTo>
                  <a:pt x="514" y="2216"/>
                </a:lnTo>
                <a:lnTo>
                  <a:pt x="514" y="2256"/>
                </a:lnTo>
                <a:lnTo>
                  <a:pt x="514" y="2564"/>
                </a:lnTo>
                <a:lnTo>
                  <a:pt x="514" y="2618"/>
                </a:lnTo>
                <a:lnTo>
                  <a:pt x="514" y="2730"/>
                </a:lnTo>
                <a:lnTo>
                  <a:pt x="514" y="2758"/>
                </a:lnTo>
                <a:lnTo>
                  <a:pt x="518" y="2784"/>
                </a:lnTo>
                <a:lnTo>
                  <a:pt x="538" y="2924"/>
                </a:lnTo>
                <a:lnTo>
                  <a:pt x="546" y="2978"/>
                </a:lnTo>
                <a:lnTo>
                  <a:pt x="550" y="3010"/>
                </a:lnTo>
                <a:lnTo>
                  <a:pt x="556" y="3032"/>
                </a:lnTo>
                <a:lnTo>
                  <a:pt x="562" y="3048"/>
                </a:lnTo>
                <a:lnTo>
                  <a:pt x="578" y="3072"/>
                </a:lnTo>
                <a:lnTo>
                  <a:pt x="580" y="3076"/>
                </a:lnTo>
                <a:lnTo>
                  <a:pt x="580" y="3082"/>
                </a:lnTo>
                <a:lnTo>
                  <a:pt x="580" y="3086"/>
                </a:lnTo>
                <a:lnTo>
                  <a:pt x="578" y="3090"/>
                </a:lnTo>
                <a:lnTo>
                  <a:pt x="574" y="3094"/>
                </a:lnTo>
                <a:lnTo>
                  <a:pt x="572" y="3100"/>
                </a:lnTo>
                <a:lnTo>
                  <a:pt x="570" y="3114"/>
                </a:lnTo>
                <a:lnTo>
                  <a:pt x="570" y="3144"/>
                </a:lnTo>
                <a:lnTo>
                  <a:pt x="570" y="3168"/>
                </a:lnTo>
                <a:lnTo>
                  <a:pt x="572" y="3174"/>
                </a:lnTo>
                <a:lnTo>
                  <a:pt x="576" y="3182"/>
                </a:lnTo>
                <a:lnTo>
                  <a:pt x="588" y="3202"/>
                </a:lnTo>
                <a:lnTo>
                  <a:pt x="592" y="3206"/>
                </a:lnTo>
                <a:lnTo>
                  <a:pt x="600" y="3214"/>
                </a:lnTo>
                <a:lnTo>
                  <a:pt x="610" y="3222"/>
                </a:lnTo>
                <a:lnTo>
                  <a:pt x="618" y="3226"/>
                </a:lnTo>
                <a:lnTo>
                  <a:pt x="624" y="3228"/>
                </a:lnTo>
                <a:lnTo>
                  <a:pt x="630" y="3230"/>
                </a:lnTo>
                <a:lnTo>
                  <a:pt x="634" y="3236"/>
                </a:lnTo>
                <a:lnTo>
                  <a:pt x="638" y="3244"/>
                </a:lnTo>
                <a:lnTo>
                  <a:pt x="638" y="3256"/>
                </a:lnTo>
                <a:lnTo>
                  <a:pt x="638" y="3262"/>
                </a:lnTo>
                <a:lnTo>
                  <a:pt x="638" y="3308"/>
                </a:lnTo>
                <a:lnTo>
                  <a:pt x="640" y="3324"/>
                </a:lnTo>
                <a:lnTo>
                  <a:pt x="646" y="3338"/>
                </a:lnTo>
                <a:lnTo>
                  <a:pt x="666" y="3368"/>
                </a:lnTo>
                <a:lnTo>
                  <a:pt x="682" y="3386"/>
                </a:lnTo>
                <a:lnTo>
                  <a:pt x="702" y="3404"/>
                </a:lnTo>
                <a:lnTo>
                  <a:pt x="716" y="3416"/>
                </a:lnTo>
                <a:lnTo>
                  <a:pt x="742" y="3440"/>
                </a:lnTo>
                <a:lnTo>
                  <a:pt x="748" y="3442"/>
                </a:lnTo>
                <a:lnTo>
                  <a:pt x="756" y="3442"/>
                </a:lnTo>
                <a:lnTo>
                  <a:pt x="776" y="3442"/>
                </a:lnTo>
                <a:lnTo>
                  <a:pt x="848" y="3436"/>
                </a:lnTo>
                <a:lnTo>
                  <a:pt x="858" y="3434"/>
                </a:lnTo>
                <a:lnTo>
                  <a:pt x="868" y="3426"/>
                </a:lnTo>
                <a:lnTo>
                  <a:pt x="874" y="3418"/>
                </a:lnTo>
                <a:lnTo>
                  <a:pt x="876" y="3406"/>
                </a:lnTo>
                <a:lnTo>
                  <a:pt x="876" y="3354"/>
                </a:lnTo>
                <a:lnTo>
                  <a:pt x="874" y="3342"/>
                </a:lnTo>
                <a:lnTo>
                  <a:pt x="872" y="3328"/>
                </a:lnTo>
                <a:lnTo>
                  <a:pt x="866" y="3318"/>
                </a:lnTo>
                <a:lnTo>
                  <a:pt x="862" y="3308"/>
                </a:lnTo>
                <a:lnTo>
                  <a:pt x="848" y="3288"/>
                </a:lnTo>
                <a:lnTo>
                  <a:pt x="836" y="3264"/>
                </a:lnTo>
                <a:lnTo>
                  <a:pt x="802" y="3194"/>
                </a:lnTo>
                <a:lnTo>
                  <a:pt x="792" y="3170"/>
                </a:lnTo>
                <a:lnTo>
                  <a:pt x="784" y="3144"/>
                </a:lnTo>
                <a:lnTo>
                  <a:pt x="782" y="3134"/>
                </a:lnTo>
                <a:lnTo>
                  <a:pt x="782" y="3120"/>
                </a:lnTo>
                <a:lnTo>
                  <a:pt x="782" y="3106"/>
                </a:lnTo>
                <a:lnTo>
                  <a:pt x="782" y="3094"/>
                </a:lnTo>
                <a:lnTo>
                  <a:pt x="788" y="3064"/>
                </a:lnTo>
                <a:lnTo>
                  <a:pt x="790" y="3036"/>
                </a:lnTo>
                <a:lnTo>
                  <a:pt x="792" y="3010"/>
                </a:lnTo>
                <a:lnTo>
                  <a:pt x="792" y="2932"/>
                </a:lnTo>
                <a:lnTo>
                  <a:pt x="792" y="2904"/>
                </a:lnTo>
                <a:lnTo>
                  <a:pt x="796" y="2876"/>
                </a:lnTo>
                <a:lnTo>
                  <a:pt x="816" y="2750"/>
                </a:lnTo>
                <a:lnTo>
                  <a:pt x="818" y="2724"/>
                </a:lnTo>
                <a:lnTo>
                  <a:pt x="816" y="2696"/>
                </a:lnTo>
                <a:lnTo>
                  <a:pt x="796" y="2594"/>
                </a:lnTo>
                <a:lnTo>
                  <a:pt x="792" y="2566"/>
                </a:lnTo>
                <a:lnTo>
                  <a:pt x="792" y="2538"/>
                </a:lnTo>
                <a:lnTo>
                  <a:pt x="792" y="2462"/>
                </a:lnTo>
                <a:lnTo>
                  <a:pt x="790" y="2406"/>
                </a:lnTo>
                <a:lnTo>
                  <a:pt x="780" y="2280"/>
                </a:lnTo>
                <a:lnTo>
                  <a:pt x="780" y="2254"/>
                </a:lnTo>
                <a:lnTo>
                  <a:pt x="782" y="2226"/>
                </a:lnTo>
                <a:lnTo>
                  <a:pt x="788" y="2196"/>
                </a:lnTo>
                <a:lnTo>
                  <a:pt x="794" y="2142"/>
                </a:lnTo>
                <a:lnTo>
                  <a:pt x="800" y="2086"/>
                </a:lnTo>
                <a:lnTo>
                  <a:pt x="804" y="2060"/>
                </a:lnTo>
                <a:lnTo>
                  <a:pt x="804" y="2032"/>
                </a:lnTo>
                <a:lnTo>
                  <a:pt x="804" y="1894"/>
                </a:lnTo>
                <a:lnTo>
                  <a:pt x="804" y="1868"/>
                </a:lnTo>
                <a:lnTo>
                  <a:pt x="800" y="1840"/>
                </a:lnTo>
                <a:lnTo>
                  <a:pt x="794" y="1784"/>
                </a:lnTo>
                <a:lnTo>
                  <a:pt x="790" y="1758"/>
                </a:lnTo>
                <a:lnTo>
                  <a:pt x="782" y="1732"/>
                </a:lnTo>
                <a:lnTo>
                  <a:pt x="772" y="1700"/>
                </a:lnTo>
                <a:lnTo>
                  <a:pt x="764" y="1678"/>
                </a:lnTo>
                <a:lnTo>
                  <a:pt x="762" y="1662"/>
                </a:lnTo>
                <a:lnTo>
                  <a:pt x="764" y="1656"/>
                </a:lnTo>
                <a:lnTo>
                  <a:pt x="766" y="1650"/>
                </a:lnTo>
                <a:lnTo>
                  <a:pt x="772" y="1644"/>
                </a:lnTo>
                <a:lnTo>
                  <a:pt x="776" y="1638"/>
                </a:lnTo>
                <a:lnTo>
                  <a:pt x="784" y="1634"/>
                </a:lnTo>
                <a:lnTo>
                  <a:pt x="792" y="1630"/>
                </a:lnTo>
                <a:lnTo>
                  <a:pt x="800" y="1630"/>
                </a:lnTo>
                <a:lnTo>
                  <a:pt x="806" y="1632"/>
                </a:lnTo>
                <a:lnTo>
                  <a:pt x="812" y="1634"/>
                </a:lnTo>
                <a:lnTo>
                  <a:pt x="818" y="1634"/>
                </a:lnTo>
                <a:lnTo>
                  <a:pt x="822" y="1630"/>
                </a:lnTo>
                <a:lnTo>
                  <a:pt x="826" y="1626"/>
                </a:lnTo>
                <a:lnTo>
                  <a:pt x="836" y="1614"/>
                </a:lnTo>
                <a:lnTo>
                  <a:pt x="846" y="1602"/>
                </a:lnTo>
                <a:lnTo>
                  <a:pt x="852" y="1598"/>
                </a:lnTo>
                <a:lnTo>
                  <a:pt x="860" y="1600"/>
                </a:lnTo>
                <a:lnTo>
                  <a:pt x="868" y="1604"/>
                </a:lnTo>
                <a:lnTo>
                  <a:pt x="874" y="1612"/>
                </a:lnTo>
                <a:lnTo>
                  <a:pt x="902" y="1650"/>
                </a:lnTo>
                <a:lnTo>
                  <a:pt x="914" y="1666"/>
                </a:lnTo>
                <a:lnTo>
                  <a:pt x="920" y="1672"/>
                </a:lnTo>
                <a:lnTo>
                  <a:pt x="924" y="1674"/>
                </a:lnTo>
                <a:lnTo>
                  <a:pt x="926" y="1674"/>
                </a:lnTo>
                <a:lnTo>
                  <a:pt x="930" y="1678"/>
                </a:lnTo>
                <a:lnTo>
                  <a:pt x="936" y="1692"/>
                </a:lnTo>
                <a:lnTo>
                  <a:pt x="942" y="1712"/>
                </a:lnTo>
                <a:lnTo>
                  <a:pt x="944" y="1738"/>
                </a:lnTo>
                <a:lnTo>
                  <a:pt x="944" y="1744"/>
                </a:lnTo>
                <a:lnTo>
                  <a:pt x="944" y="1798"/>
                </a:lnTo>
                <a:lnTo>
                  <a:pt x="944" y="2068"/>
                </a:lnTo>
                <a:lnTo>
                  <a:pt x="940" y="2096"/>
                </a:lnTo>
                <a:lnTo>
                  <a:pt x="936" y="2122"/>
                </a:lnTo>
                <a:lnTo>
                  <a:pt x="926" y="2154"/>
                </a:lnTo>
                <a:lnTo>
                  <a:pt x="918" y="2180"/>
                </a:lnTo>
                <a:lnTo>
                  <a:pt x="912" y="2208"/>
                </a:lnTo>
                <a:lnTo>
                  <a:pt x="906" y="2238"/>
                </a:lnTo>
                <a:lnTo>
                  <a:pt x="902" y="2264"/>
                </a:lnTo>
                <a:lnTo>
                  <a:pt x="902" y="2292"/>
                </a:lnTo>
                <a:lnTo>
                  <a:pt x="902" y="2358"/>
                </a:lnTo>
                <a:lnTo>
                  <a:pt x="898" y="2386"/>
                </a:lnTo>
                <a:lnTo>
                  <a:pt x="892" y="2412"/>
                </a:lnTo>
                <a:lnTo>
                  <a:pt x="868" y="2480"/>
                </a:lnTo>
                <a:lnTo>
                  <a:pt x="862" y="2506"/>
                </a:lnTo>
                <a:lnTo>
                  <a:pt x="856" y="2534"/>
                </a:lnTo>
                <a:lnTo>
                  <a:pt x="850" y="2576"/>
                </a:lnTo>
                <a:lnTo>
                  <a:pt x="844" y="2630"/>
                </a:lnTo>
                <a:lnTo>
                  <a:pt x="836" y="2720"/>
                </a:lnTo>
                <a:lnTo>
                  <a:pt x="836" y="2732"/>
                </a:lnTo>
                <a:lnTo>
                  <a:pt x="838" y="2744"/>
                </a:lnTo>
                <a:lnTo>
                  <a:pt x="842" y="2756"/>
                </a:lnTo>
                <a:lnTo>
                  <a:pt x="846" y="2764"/>
                </a:lnTo>
                <a:lnTo>
                  <a:pt x="850" y="2774"/>
                </a:lnTo>
                <a:lnTo>
                  <a:pt x="852" y="2782"/>
                </a:lnTo>
                <a:lnTo>
                  <a:pt x="850" y="2792"/>
                </a:lnTo>
                <a:lnTo>
                  <a:pt x="846" y="2802"/>
                </a:lnTo>
                <a:lnTo>
                  <a:pt x="842" y="2810"/>
                </a:lnTo>
                <a:lnTo>
                  <a:pt x="842" y="2820"/>
                </a:lnTo>
                <a:lnTo>
                  <a:pt x="846" y="2830"/>
                </a:lnTo>
                <a:lnTo>
                  <a:pt x="852" y="2840"/>
                </a:lnTo>
                <a:lnTo>
                  <a:pt x="858" y="2846"/>
                </a:lnTo>
                <a:lnTo>
                  <a:pt x="864" y="2856"/>
                </a:lnTo>
                <a:lnTo>
                  <a:pt x="870" y="2870"/>
                </a:lnTo>
                <a:lnTo>
                  <a:pt x="874" y="2882"/>
                </a:lnTo>
                <a:lnTo>
                  <a:pt x="876" y="2894"/>
                </a:lnTo>
                <a:lnTo>
                  <a:pt x="876" y="3020"/>
                </a:lnTo>
                <a:lnTo>
                  <a:pt x="876" y="3054"/>
                </a:lnTo>
                <a:lnTo>
                  <a:pt x="878" y="3062"/>
                </a:lnTo>
                <a:lnTo>
                  <a:pt x="882" y="3072"/>
                </a:lnTo>
                <a:lnTo>
                  <a:pt x="892" y="3086"/>
                </a:lnTo>
                <a:lnTo>
                  <a:pt x="910" y="3102"/>
                </a:lnTo>
                <a:lnTo>
                  <a:pt x="920" y="3110"/>
                </a:lnTo>
                <a:lnTo>
                  <a:pt x="928" y="3116"/>
                </a:lnTo>
                <a:lnTo>
                  <a:pt x="936" y="3120"/>
                </a:lnTo>
                <a:lnTo>
                  <a:pt x="944" y="3120"/>
                </a:lnTo>
                <a:lnTo>
                  <a:pt x="978" y="3120"/>
                </a:lnTo>
                <a:lnTo>
                  <a:pt x="1014" y="3120"/>
                </a:lnTo>
                <a:lnTo>
                  <a:pt x="1028" y="3120"/>
                </a:lnTo>
                <a:lnTo>
                  <a:pt x="1040" y="3116"/>
                </a:lnTo>
                <a:lnTo>
                  <a:pt x="1046" y="3110"/>
                </a:lnTo>
                <a:lnTo>
                  <a:pt x="1052" y="3104"/>
                </a:lnTo>
                <a:lnTo>
                  <a:pt x="1058" y="3094"/>
                </a:lnTo>
                <a:lnTo>
                  <a:pt x="1062" y="3084"/>
                </a:lnTo>
                <a:lnTo>
                  <a:pt x="1068" y="3060"/>
                </a:lnTo>
                <a:lnTo>
                  <a:pt x="1070" y="3036"/>
                </a:lnTo>
                <a:lnTo>
                  <a:pt x="1068" y="3024"/>
                </a:lnTo>
                <a:lnTo>
                  <a:pt x="1066" y="3012"/>
                </a:lnTo>
                <a:lnTo>
                  <a:pt x="1062" y="2998"/>
                </a:lnTo>
                <a:lnTo>
                  <a:pt x="1058" y="2986"/>
                </a:lnTo>
                <a:lnTo>
                  <a:pt x="1052" y="2976"/>
                </a:lnTo>
                <a:lnTo>
                  <a:pt x="1028" y="2926"/>
                </a:lnTo>
                <a:lnTo>
                  <a:pt x="1024" y="2914"/>
                </a:lnTo>
                <a:lnTo>
                  <a:pt x="1020" y="2904"/>
                </a:lnTo>
                <a:lnTo>
                  <a:pt x="1020" y="2890"/>
                </a:lnTo>
                <a:lnTo>
                  <a:pt x="1022" y="2878"/>
                </a:lnTo>
                <a:lnTo>
                  <a:pt x="1028" y="2868"/>
                </a:lnTo>
                <a:lnTo>
                  <a:pt x="1038" y="2854"/>
                </a:lnTo>
                <a:lnTo>
                  <a:pt x="1044" y="2842"/>
                </a:lnTo>
                <a:lnTo>
                  <a:pt x="1050" y="2830"/>
                </a:lnTo>
                <a:lnTo>
                  <a:pt x="1052" y="2818"/>
                </a:lnTo>
                <a:lnTo>
                  <a:pt x="1054" y="2806"/>
                </a:lnTo>
                <a:lnTo>
                  <a:pt x="1054" y="2796"/>
                </a:lnTo>
                <a:lnTo>
                  <a:pt x="1058" y="2782"/>
                </a:lnTo>
                <a:lnTo>
                  <a:pt x="1062" y="2770"/>
                </a:lnTo>
                <a:lnTo>
                  <a:pt x="1066" y="2758"/>
                </a:lnTo>
                <a:lnTo>
                  <a:pt x="1084" y="2724"/>
                </a:lnTo>
                <a:lnTo>
                  <a:pt x="1094" y="2698"/>
                </a:lnTo>
                <a:lnTo>
                  <a:pt x="1102" y="2672"/>
                </a:lnTo>
                <a:lnTo>
                  <a:pt x="1144" y="2520"/>
                </a:lnTo>
                <a:lnTo>
                  <a:pt x="1156" y="2466"/>
                </a:lnTo>
                <a:lnTo>
                  <a:pt x="1188" y="2266"/>
                </a:lnTo>
                <a:lnTo>
                  <a:pt x="1200" y="2214"/>
                </a:lnTo>
                <a:lnTo>
                  <a:pt x="1228" y="2110"/>
                </a:lnTo>
                <a:lnTo>
                  <a:pt x="1240" y="2058"/>
                </a:lnTo>
                <a:lnTo>
                  <a:pt x="1256" y="1990"/>
                </a:lnTo>
                <a:lnTo>
                  <a:pt x="1258" y="1980"/>
                </a:lnTo>
                <a:lnTo>
                  <a:pt x="1262" y="1974"/>
                </a:lnTo>
                <a:lnTo>
                  <a:pt x="1266" y="1972"/>
                </a:lnTo>
                <a:lnTo>
                  <a:pt x="1268" y="1976"/>
                </a:lnTo>
                <a:lnTo>
                  <a:pt x="1272" y="1982"/>
                </a:lnTo>
                <a:lnTo>
                  <a:pt x="1274" y="1992"/>
                </a:lnTo>
                <a:lnTo>
                  <a:pt x="1276" y="2016"/>
                </a:lnTo>
                <a:lnTo>
                  <a:pt x="1276" y="2080"/>
                </a:lnTo>
                <a:lnTo>
                  <a:pt x="1278" y="2106"/>
                </a:lnTo>
                <a:lnTo>
                  <a:pt x="1282" y="2134"/>
                </a:lnTo>
                <a:lnTo>
                  <a:pt x="1284" y="2142"/>
                </a:lnTo>
                <a:lnTo>
                  <a:pt x="1286" y="2154"/>
                </a:lnTo>
                <a:lnTo>
                  <a:pt x="1286" y="2168"/>
                </a:lnTo>
                <a:lnTo>
                  <a:pt x="1282" y="2182"/>
                </a:lnTo>
                <a:lnTo>
                  <a:pt x="1278" y="2194"/>
                </a:lnTo>
                <a:lnTo>
                  <a:pt x="1274" y="2204"/>
                </a:lnTo>
                <a:lnTo>
                  <a:pt x="1268" y="2216"/>
                </a:lnTo>
                <a:lnTo>
                  <a:pt x="1264" y="2228"/>
                </a:lnTo>
                <a:lnTo>
                  <a:pt x="1262" y="2242"/>
                </a:lnTo>
                <a:lnTo>
                  <a:pt x="1262" y="2256"/>
                </a:lnTo>
                <a:lnTo>
                  <a:pt x="1262" y="2262"/>
                </a:lnTo>
                <a:lnTo>
                  <a:pt x="1262" y="2318"/>
                </a:lnTo>
                <a:lnTo>
                  <a:pt x="1262" y="2358"/>
                </a:lnTo>
                <a:lnTo>
                  <a:pt x="1258" y="2414"/>
                </a:lnTo>
                <a:lnTo>
                  <a:pt x="1252" y="2480"/>
                </a:lnTo>
                <a:lnTo>
                  <a:pt x="1246" y="2534"/>
                </a:lnTo>
                <a:lnTo>
                  <a:pt x="1238" y="2598"/>
                </a:lnTo>
                <a:lnTo>
                  <a:pt x="1234" y="2620"/>
                </a:lnTo>
                <a:lnTo>
                  <a:pt x="1228" y="2638"/>
                </a:lnTo>
                <a:lnTo>
                  <a:pt x="1222" y="2654"/>
                </a:lnTo>
                <a:lnTo>
                  <a:pt x="1214" y="2678"/>
                </a:lnTo>
                <a:lnTo>
                  <a:pt x="1212" y="2682"/>
                </a:lnTo>
                <a:lnTo>
                  <a:pt x="1212" y="2696"/>
                </a:lnTo>
                <a:lnTo>
                  <a:pt x="1212" y="2708"/>
                </a:lnTo>
                <a:lnTo>
                  <a:pt x="1216" y="2722"/>
                </a:lnTo>
                <a:lnTo>
                  <a:pt x="1220" y="2734"/>
                </a:lnTo>
                <a:lnTo>
                  <a:pt x="1226" y="2746"/>
                </a:lnTo>
                <a:lnTo>
                  <a:pt x="1230" y="2758"/>
                </a:lnTo>
                <a:lnTo>
                  <a:pt x="1234" y="2772"/>
                </a:lnTo>
                <a:lnTo>
                  <a:pt x="1234" y="2786"/>
                </a:lnTo>
                <a:lnTo>
                  <a:pt x="1234" y="2816"/>
                </a:lnTo>
                <a:lnTo>
                  <a:pt x="1236" y="2826"/>
                </a:lnTo>
                <a:lnTo>
                  <a:pt x="1242" y="2838"/>
                </a:lnTo>
                <a:lnTo>
                  <a:pt x="1250" y="2848"/>
                </a:lnTo>
                <a:lnTo>
                  <a:pt x="1260" y="2854"/>
                </a:lnTo>
                <a:lnTo>
                  <a:pt x="1266" y="2856"/>
                </a:lnTo>
                <a:lnTo>
                  <a:pt x="1284" y="2864"/>
                </a:lnTo>
                <a:lnTo>
                  <a:pt x="1296" y="2868"/>
                </a:lnTo>
                <a:lnTo>
                  <a:pt x="1300" y="2870"/>
                </a:lnTo>
                <a:lnTo>
                  <a:pt x="1306" y="2874"/>
                </a:lnTo>
                <a:lnTo>
                  <a:pt x="1318" y="2890"/>
                </a:lnTo>
                <a:lnTo>
                  <a:pt x="1330" y="2904"/>
                </a:lnTo>
                <a:lnTo>
                  <a:pt x="1344" y="2924"/>
                </a:lnTo>
                <a:lnTo>
                  <a:pt x="1360" y="2940"/>
                </a:lnTo>
                <a:lnTo>
                  <a:pt x="1374" y="2950"/>
                </a:lnTo>
                <a:lnTo>
                  <a:pt x="1388" y="2958"/>
                </a:lnTo>
                <a:lnTo>
                  <a:pt x="1414" y="2970"/>
                </a:lnTo>
                <a:lnTo>
                  <a:pt x="1456" y="2982"/>
                </a:lnTo>
                <a:lnTo>
                  <a:pt x="1458" y="2982"/>
                </a:lnTo>
                <a:lnTo>
                  <a:pt x="1470" y="2984"/>
                </a:lnTo>
                <a:lnTo>
                  <a:pt x="1484" y="2984"/>
                </a:lnTo>
                <a:lnTo>
                  <a:pt x="1498" y="2982"/>
                </a:lnTo>
                <a:lnTo>
                  <a:pt x="1510" y="2980"/>
                </a:lnTo>
                <a:lnTo>
                  <a:pt x="1526" y="2972"/>
                </a:lnTo>
                <a:lnTo>
                  <a:pt x="1538" y="2968"/>
                </a:lnTo>
                <a:lnTo>
                  <a:pt x="1548" y="2960"/>
                </a:lnTo>
                <a:lnTo>
                  <a:pt x="1556" y="2952"/>
                </a:lnTo>
                <a:lnTo>
                  <a:pt x="1560" y="2946"/>
                </a:lnTo>
                <a:lnTo>
                  <a:pt x="1562" y="2936"/>
                </a:lnTo>
                <a:lnTo>
                  <a:pt x="1560" y="2926"/>
                </a:lnTo>
                <a:lnTo>
                  <a:pt x="1556" y="2918"/>
                </a:lnTo>
                <a:lnTo>
                  <a:pt x="1548" y="2908"/>
                </a:lnTo>
                <a:lnTo>
                  <a:pt x="1534" y="2896"/>
                </a:lnTo>
                <a:lnTo>
                  <a:pt x="1494" y="2860"/>
                </a:lnTo>
                <a:lnTo>
                  <a:pt x="1474" y="2840"/>
                </a:lnTo>
                <a:lnTo>
                  <a:pt x="1458" y="2818"/>
                </a:lnTo>
                <a:lnTo>
                  <a:pt x="1442" y="2796"/>
                </a:lnTo>
                <a:lnTo>
                  <a:pt x="1438" y="2784"/>
                </a:lnTo>
                <a:lnTo>
                  <a:pt x="1434" y="2770"/>
                </a:lnTo>
                <a:lnTo>
                  <a:pt x="1430" y="2756"/>
                </a:lnTo>
                <a:lnTo>
                  <a:pt x="1430" y="2744"/>
                </a:lnTo>
                <a:lnTo>
                  <a:pt x="1430" y="2738"/>
                </a:lnTo>
                <a:lnTo>
                  <a:pt x="1432" y="2726"/>
                </a:lnTo>
                <a:lnTo>
                  <a:pt x="1436" y="2714"/>
                </a:lnTo>
                <a:lnTo>
                  <a:pt x="1442" y="2704"/>
                </a:lnTo>
                <a:lnTo>
                  <a:pt x="1450" y="2698"/>
                </a:lnTo>
                <a:lnTo>
                  <a:pt x="1458" y="2692"/>
                </a:lnTo>
                <a:lnTo>
                  <a:pt x="1466" y="2684"/>
                </a:lnTo>
                <a:lnTo>
                  <a:pt x="1470" y="2676"/>
                </a:lnTo>
                <a:lnTo>
                  <a:pt x="1472" y="2668"/>
                </a:lnTo>
                <a:lnTo>
                  <a:pt x="1474" y="2624"/>
                </a:lnTo>
                <a:lnTo>
                  <a:pt x="1480" y="2568"/>
                </a:lnTo>
                <a:lnTo>
                  <a:pt x="1486" y="2542"/>
                </a:lnTo>
                <a:lnTo>
                  <a:pt x="1492" y="2514"/>
                </a:lnTo>
                <a:lnTo>
                  <a:pt x="1506" y="2472"/>
                </a:lnTo>
                <a:lnTo>
                  <a:pt x="1512" y="2444"/>
                </a:lnTo>
                <a:lnTo>
                  <a:pt x="1516" y="2418"/>
                </a:lnTo>
                <a:lnTo>
                  <a:pt x="1524" y="2328"/>
                </a:lnTo>
                <a:lnTo>
                  <a:pt x="1528" y="2302"/>
                </a:lnTo>
                <a:lnTo>
                  <a:pt x="1536" y="2274"/>
                </a:lnTo>
                <a:lnTo>
                  <a:pt x="1572" y="2158"/>
                </a:lnTo>
                <a:lnTo>
                  <a:pt x="1588" y="2106"/>
                </a:lnTo>
                <a:lnTo>
                  <a:pt x="1616" y="1978"/>
                </a:lnTo>
                <a:lnTo>
                  <a:pt x="1630" y="1924"/>
                </a:lnTo>
                <a:lnTo>
                  <a:pt x="1660" y="1810"/>
                </a:lnTo>
                <a:lnTo>
                  <a:pt x="1664" y="1784"/>
                </a:lnTo>
                <a:lnTo>
                  <a:pt x="1666" y="1758"/>
                </a:lnTo>
                <a:lnTo>
                  <a:pt x="1668" y="1748"/>
                </a:lnTo>
                <a:lnTo>
                  <a:pt x="1672" y="1736"/>
                </a:lnTo>
                <a:lnTo>
                  <a:pt x="1678" y="1724"/>
                </a:lnTo>
                <a:lnTo>
                  <a:pt x="1684" y="1716"/>
                </a:lnTo>
                <a:lnTo>
                  <a:pt x="1728" y="1670"/>
                </a:lnTo>
                <a:lnTo>
                  <a:pt x="1734" y="1660"/>
                </a:lnTo>
                <a:lnTo>
                  <a:pt x="1740" y="1648"/>
                </a:lnTo>
                <a:lnTo>
                  <a:pt x="1744" y="1636"/>
                </a:lnTo>
                <a:lnTo>
                  <a:pt x="1746" y="1624"/>
                </a:lnTo>
                <a:lnTo>
                  <a:pt x="1746" y="1582"/>
                </a:lnTo>
                <a:lnTo>
                  <a:pt x="1746" y="1528"/>
                </a:lnTo>
                <a:lnTo>
                  <a:pt x="1746" y="1446"/>
                </a:lnTo>
                <a:close/>
                <a:moveTo>
                  <a:pt x="190" y="614"/>
                </a:moveTo>
                <a:lnTo>
                  <a:pt x="190" y="614"/>
                </a:lnTo>
                <a:lnTo>
                  <a:pt x="186" y="614"/>
                </a:lnTo>
                <a:lnTo>
                  <a:pt x="190" y="614"/>
                </a:lnTo>
                <a:lnTo>
                  <a:pt x="192" y="614"/>
                </a:lnTo>
                <a:lnTo>
                  <a:pt x="190" y="6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2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686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uppe 83"/>
          <p:cNvGrpSpPr>
            <a:grpSpLocks/>
          </p:cNvGrpSpPr>
          <p:nvPr/>
        </p:nvGrpSpPr>
        <p:grpSpPr bwMode="auto">
          <a:xfrm rot="-8100000">
            <a:off x="4736306" y="1885157"/>
            <a:ext cx="1533525" cy="1566862"/>
            <a:chOff x="3717577" y="1040361"/>
            <a:chExt cx="1708847" cy="1742936"/>
          </a:xfrm>
        </p:grpSpPr>
        <p:sp>
          <p:nvSpPr>
            <p:cNvPr id="3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2A9B18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4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5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5363" name="Gruppe 83"/>
          <p:cNvGrpSpPr>
            <a:grpSpLocks/>
          </p:cNvGrpSpPr>
          <p:nvPr/>
        </p:nvGrpSpPr>
        <p:grpSpPr bwMode="auto">
          <a:xfrm rot="8008569">
            <a:off x="3022600" y="1889125"/>
            <a:ext cx="1549400" cy="1581150"/>
            <a:chOff x="3717577" y="1040361"/>
            <a:chExt cx="1708847" cy="1742936"/>
          </a:xfrm>
        </p:grpSpPr>
        <p:sp>
          <p:nvSpPr>
            <p:cNvPr id="7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9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3080" name="Group 64"/>
          <p:cNvGrpSpPr>
            <a:grpSpLocks/>
          </p:cNvGrpSpPr>
          <p:nvPr/>
        </p:nvGrpSpPr>
        <p:grpSpPr bwMode="auto">
          <a:xfrm rot="-2700000">
            <a:off x="5106988" y="2232025"/>
            <a:ext cx="804862" cy="871538"/>
            <a:chOff x="3544548" y="2404084"/>
            <a:chExt cx="711551" cy="771054"/>
          </a:xfrm>
          <a:solidFill>
            <a:schemeClr val="bg1"/>
          </a:solidFill>
        </p:grpSpPr>
        <p:sp>
          <p:nvSpPr>
            <p:cNvPr id="16" name="L-Shape 15"/>
            <p:cNvSpPr/>
            <p:nvPr/>
          </p:nvSpPr>
          <p:spPr bwMode="auto">
            <a:xfrm rot="2700000">
              <a:off x="3487517" y="2680907"/>
              <a:ext cx="547743" cy="437878"/>
            </a:xfrm>
            <a:prstGeom prst="corner">
              <a:avLst>
                <a:gd name="adj1" fmla="val 74088"/>
                <a:gd name="adj2" fmla="val 34067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7" name="Cloud 16"/>
            <p:cNvSpPr/>
            <p:nvPr/>
          </p:nvSpPr>
          <p:spPr bwMode="auto">
            <a:xfrm rot="5280872">
              <a:off x="3887016" y="2294715"/>
              <a:ext cx="259826" cy="474368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8" name="&quot;No&quot; Symbol 17"/>
          <p:cNvSpPr/>
          <p:nvPr/>
        </p:nvSpPr>
        <p:spPr bwMode="auto">
          <a:xfrm rot="5594088">
            <a:off x="3301207" y="2185193"/>
            <a:ext cx="984250" cy="982663"/>
          </a:xfrm>
          <a:prstGeom prst="noSmoking">
            <a:avLst>
              <a:gd name="adj" fmla="val 1444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19" name="Gruppe 83"/>
          <p:cNvGrpSpPr>
            <a:grpSpLocks/>
          </p:cNvGrpSpPr>
          <p:nvPr/>
        </p:nvGrpSpPr>
        <p:grpSpPr bwMode="auto">
          <a:xfrm rot="8100000" flipV="1">
            <a:off x="4735720" y="3580089"/>
            <a:ext cx="1534156" cy="1567410"/>
            <a:chOff x="3717577" y="1040361"/>
            <a:chExt cx="1708847" cy="1742936"/>
          </a:xfrm>
          <a:effectLst>
            <a:reflection stA="25000" endPos="35000" dist="12700" dir="5400000" sy="-100000" algn="bl" rotWithShape="0"/>
          </a:effectLst>
        </p:grpSpPr>
        <p:sp>
          <p:nvSpPr>
            <p:cNvPr id="20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2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</p:grpSp>
      <p:grpSp>
        <p:nvGrpSpPr>
          <p:cNvPr id="15367" name="Gruppe 83"/>
          <p:cNvGrpSpPr>
            <a:grpSpLocks/>
          </p:cNvGrpSpPr>
          <p:nvPr/>
        </p:nvGrpSpPr>
        <p:grpSpPr bwMode="auto">
          <a:xfrm rot="13591431" flipV="1">
            <a:off x="3022600" y="3562350"/>
            <a:ext cx="1549400" cy="1581150"/>
            <a:chOff x="3717577" y="1040361"/>
            <a:chExt cx="1708847" cy="1742936"/>
          </a:xfrm>
        </p:grpSpPr>
        <p:sp>
          <p:nvSpPr>
            <p:cNvPr id="24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63000">
                  <a:srgbClr val="CE202A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  <a:reflection stA="25000" endPos="35000" dist="12700" dir="5400000" sy="-100000" algn="bl" rotWithShape="0"/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26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3086" name="Gruppe 46"/>
          <p:cNvGrpSpPr>
            <a:grpSpLocks/>
          </p:cNvGrpSpPr>
          <p:nvPr/>
        </p:nvGrpSpPr>
        <p:grpSpPr bwMode="auto">
          <a:xfrm>
            <a:off x="5022850" y="3940175"/>
            <a:ext cx="1085850" cy="806450"/>
            <a:chOff x="4821610" y="587829"/>
            <a:chExt cx="2393544" cy="1781593"/>
          </a:xfrm>
          <a:solidFill>
            <a:schemeClr val="bg1"/>
          </a:solidFill>
        </p:grpSpPr>
        <p:sp>
          <p:nvSpPr>
            <p:cNvPr id="3094" name="Freeform 528"/>
            <p:cNvSpPr>
              <a:spLocks/>
            </p:cNvSpPr>
            <p:nvPr/>
          </p:nvSpPr>
          <p:spPr bwMode="auto">
            <a:xfrm>
              <a:off x="4821610" y="587829"/>
              <a:ext cx="2393544" cy="1781593"/>
            </a:xfrm>
            <a:custGeom>
              <a:avLst/>
              <a:gdLst>
                <a:gd name="T0" fmla="*/ 2147483647 w 794"/>
                <a:gd name="T1" fmla="*/ 2147483647 h 591"/>
                <a:gd name="T2" fmla="*/ 2147483647 w 794"/>
                <a:gd name="T3" fmla="*/ 2147483647 h 591"/>
                <a:gd name="T4" fmla="*/ 2147483647 w 794"/>
                <a:gd name="T5" fmla="*/ 2147483647 h 591"/>
                <a:gd name="T6" fmla="*/ 2147483647 w 794"/>
                <a:gd name="T7" fmla="*/ 2147483647 h 591"/>
                <a:gd name="T8" fmla="*/ 2147483647 w 794"/>
                <a:gd name="T9" fmla="*/ 2147483647 h 591"/>
                <a:gd name="T10" fmla="*/ 2147483647 w 794"/>
                <a:gd name="T11" fmla="*/ 2147483647 h 591"/>
                <a:gd name="T12" fmla="*/ 2147483647 w 794"/>
                <a:gd name="T13" fmla="*/ 2147483647 h 591"/>
                <a:gd name="T14" fmla="*/ 2147483647 w 794"/>
                <a:gd name="T15" fmla="*/ 2147483647 h 591"/>
                <a:gd name="T16" fmla="*/ 2147483647 w 794"/>
                <a:gd name="T17" fmla="*/ 2147483647 h 591"/>
                <a:gd name="T18" fmla="*/ 2147483647 w 794"/>
                <a:gd name="T19" fmla="*/ 2147483647 h 591"/>
                <a:gd name="T20" fmla="*/ 2147483647 w 794"/>
                <a:gd name="T21" fmla="*/ 2147483647 h 591"/>
                <a:gd name="T22" fmla="*/ 2147483647 w 794"/>
                <a:gd name="T23" fmla="*/ 2147483647 h 591"/>
                <a:gd name="T24" fmla="*/ 2147483647 w 794"/>
                <a:gd name="T25" fmla="*/ 2147483647 h 591"/>
                <a:gd name="T26" fmla="*/ 2147483647 w 794"/>
                <a:gd name="T27" fmla="*/ 2147483647 h 591"/>
                <a:gd name="T28" fmla="*/ 2147483647 w 794"/>
                <a:gd name="T29" fmla="*/ 2147483647 h 591"/>
                <a:gd name="T30" fmla="*/ 2147483647 w 794"/>
                <a:gd name="T31" fmla="*/ 2147483647 h 591"/>
                <a:gd name="T32" fmla="*/ 2147483647 w 794"/>
                <a:gd name="T33" fmla="*/ 2147483647 h 591"/>
                <a:gd name="T34" fmla="*/ 2147483647 w 794"/>
                <a:gd name="T35" fmla="*/ 2147483647 h 591"/>
                <a:gd name="T36" fmla="*/ 2147483647 w 794"/>
                <a:gd name="T37" fmla="*/ 2147483647 h 591"/>
                <a:gd name="T38" fmla="*/ 2147483647 w 794"/>
                <a:gd name="T39" fmla="*/ 2147483647 h 591"/>
                <a:gd name="T40" fmla="*/ 2147483647 w 794"/>
                <a:gd name="T41" fmla="*/ 2147483647 h 591"/>
                <a:gd name="T42" fmla="*/ 2147483647 w 794"/>
                <a:gd name="T43" fmla="*/ 0 h 591"/>
                <a:gd name="T44" fmla="*/ 2147483647 w 794"/>
                <a:gd name="T45" fmla="*/ 2147483647 h 591"/>
                <a:gd name="T46" fmla="*/ 2147483647 w 794"/>
                <a:gd name="T47" fmla="*/ 2147483647 h 591"/>
                <a:gd name="T48" fmla="*/ 2147483647 w 794"/>
                <a:gd name="T49" fmla="*/ 2147483647 h 591"/>
                <a:gd name="T50" fmla="*/ 2147483647 w 794"/>
                <a:gd name="T51" fmla="*/ 2147483647 h 591"/>
                <a:gd name="T52" fmla="*/ 2147483647 w 794"/>
                <a:gd name="T53" fmla="*/ 2147483647 h 591"/>
                <a:gd name="T54" fmla="*/ 0 w 794"/>
                <a:gd name="T55" fmla="*/ 2147483647 h 591"/>
                <a:gd name="T56" fmla="*/ 2147483647 w 794"/>
                <a:gd name="T57" fmla="*/ 2147483647 h 591"/>
                <a:gd name="T58" fmla="*/ 2147483647 w 794"/>
                <a:gd name="T59" fmla="*/ 2147483647 h 591"/>
                <a:gd name="T60" fmla="*/ 2147483647 w 794"/>
                <a:gd name="T61" fmla="*/ 2147483647 h 591"/>
                <a:gd name="T62" fmla="*/ 2147483647 w 794"/>
                <a:gd name="T63" fmla="*/ 2147483647 h 591"/>
                <a:gd name="T64" fmla="*/ 2147483647 w 794"/>
                <a:gd name="T65" fmla="*/ 2147483647 h 591"/>
                <a:gd name="T66" fmla="*/ 2147483647 w 794"/>
                <a:gd name="T67" fmla="*/ 2147483647 h 591"/>
                <a:gd name="T68" fmla="*/ 2147483647 w 794"/>
                <a:gd name="T69" fmla="*/ 2147483647 h 591"/>
                <a:gd name="T70" fmla="*/ 2147483647 w 794"/>
                <a:gd name="T71" fmla="*/ 2147483647 h 591"/>
                <a:gd name="T72" fmla="*/ 2147483647 w 794"/>
                <a:gd name="T73" fmla="*/ 2147483647 h 591"/>
                <a:gd name="T74" fmla="*/ 2147483647 w 794"/>
                <a:gd name="T75" fmla="*/ 2147483647 h 591"/>
                <a:gd name="T76" fmla="*/ 2147483647 w 794"/>
                <a:gd name="T77" fmla="*/ 2147483647 h 591"/>
                <a:gd name="T78" fmla="*/ 2147483647 w 794"/>
                <a:gd name="T79" fmla="*/ 2147483647 h 591"/>
                <a:gd name="T80" fmla="*/ 2147483647 w 794"/>
                <a:gd name="T81" fmla="*/ 2147483647 h 591"/>
                <a:gd name="T82" fmla="*/ 2147483647 w 794"/>
                <a:gd name="T83" fmla="*/ 2147483647 h 591"/>
                <a:gd name="T84" fmla="*/ 2147483647 w 794"/>
                <a:gd name="T85" fmla="*/ 2147483647 h 591"/>
                <a:gd name="T86" fmla="*/ 2147483647 w 794"/>
                <a:gd name="T87" fmla="*/ 2147483647 h 591"/>
                <a:gd name="T88" fmla="*/ 2147483647 w 794"/>
                <a:gd name="T89" fmla="*/ 2147483647 h 591"/>
                <a:gd name="T90" fmla="*/ 2147483647 w 794"/>
                <a:gd name="T91" fmla="*/ 2147483647 h 591"/>
                <a:gd name="T92" fmla="*/ 2147483647 w 794"/>
                <a:gd name="T93" fmla="*/ 2147483647 h 591"/>
                <a:gd name="T94" fmla="*/ 2147483647 w 794"/>
                <a:gd name="T95" fmla="*/ 2147483647 h 591"/>
                <a:gd name="T96" fmla="*/ 2147483647 w 794"/>
                <a:gd name="T97" fmla="*/ 2147483647 h 591"/>
                <a:gd name="T98" fmla="*/ 2147483647 w 794"/>
                <a:gd name="T99" fmla="*/ 2147483647 h 591"/>
                <a:gd name="T100" fmla="*/ 2147483647 w 794"/>
                <a:gd name="T101" fmla="*/ 2147483647 h 5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94"/>
                <a:gd name="T154" fmla="*/ 0 h 591"/>
                <a:gd name="T155" fmla="*/ 794 w 794"/>
                <a:gd name="T156" fmla="*/ 591 h 5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94" h="591">
                  <a:moveTo>
                    <a:pt x="783" y="463"/>
                  </a:moveTo>
                  <a:lnTo>
                    <a:pt x="771" y="468"/>
                  </a:lnTo>
                  <a:lnTo>
                    <a:pt x="757" y="474"/>
                  </a:lnTo>
                  <a:lnTo>
                    <a:pt x="742" y="480"/>
                  </a:lnTo>
                  <a:lnTo>
                    <a:pt x="719" y="486"/>
                  </a:lnTo>
                  <a:lnTo>
                    <a:pt x="704" y="486"/>
                  </a:lnTo>
                  <a:lnTo>
                    <a:pt x="698" y="486"/>
                  </a:lnTo>
                  <a:lnTo>
                    <a:pt x="687" y="480"/>
                  </a:lnTo>
                  <a:lnTo>
                    <a:pt x="675" y="480"/>
                  </a:lnTo>
                  <a:lnTo>
                    <a:pt x="660" y="480"/>
                  </a:lnTo>
                  <a:lnTo>
                    <a:pt x="655" y="486"/>
                  </a:lnTo>
                  <a:lnTo>
                    <a:pt x="617" y="474"/>
                  </a:lnTo>
                  <a:lnTo>
                    <a:pt x="620" y="428"/>
                  </a:lnTo>
                  <a:lnTo>
                    <a:pt x="570" y="404"/>
                  </a:lnTo>
                  <a:lnTo>
                    <a:pt x="556" y="404"/>
                  </a:lnTo>
                  <a:lnTo>
                    <a:pt x="521" y="387"/>
                  </a:lnTo>
                  <a:lnTo>
                    <a:pt x="480" y="375"/>
                  </a:lnTo>
                  <a:lnTo>
                    <a:pt x="474" y="369"/>
                  </a:lnTo>
                  <a:lnTo>
                    <a:pt x="460" y="361"/>
                  </a:lnTo>
                  <a:lnTo>
                    <a:pt x="445" y="364"/>
                  </a:lnTo>
                  <a:lnTo>
                    <a:pt x="419" y="340"/>
                  </a:lnTo>
                  <a:lnTo>
                    <a:pt x="401" y="335"/>
                  </a:lnTo>
                  <a:lnTo>
                    <a:pt x="375" y="329"/>
                  </a:lnTo>
                  <a:lnTo>
                    <a:pt x="320" y="332"/>
                  </a:lnTo>
                  <a:lnTo>
                    <a:pt x="326" y="311"/>
                  </a:lnTo>
                  <a:lnTo>
                    <a:pt x="305" y="303"/>
                  </a:lnTo>
                  <a:lnTo>
                    <a:pt x="265" y="308"/>
                  </a:lnTo>
                  <a:lnTo>
                    <a:pt x="285" y="288"/>
                  </a:lnTo>
                  <a:lnTo>
                    <a:pt x="297" y="282"/>
                  </a:lnTo>
                  <a:lnTo>
                    <a:pt x="308" y="271"/>
                  </a:lnTo>
                  <a:lnTo>
                    <a:pt x="314" y="262"/>
                  </a:lnTo>
                  <a:lnTo>
                    <a:pt x="352" y="241"/>
                  </a:lnTo>
                  <a:lnTo>
                    <a:pt x="381" y="256"/>
                  </a:lnTo>
                  <a:lnTo>
                    <a:pt x="407" y="271"/>
                  </a:lnTo>
                  <a:lnTo>
                    <a:pt x="451" y="294"/>
                  </a:lnTo>
                  <a:lnTo>
                    <a:pt x="465" y="294"/>
                  </a:lnTo>
                  <a:lnTo>
                    <a:pt x="477" y="291"/>
                  </a:lnTo>
                  <a:lnTo>
                    <a:pt x="483" y="285"/>
                  </a:lnTo>
                  <a:lnTo>
                    <a:pt x="506" y="262"/>
                  </a:lnTo>
                  <a:lnTo>
                    <a:pt x="532" y="239"/>
                  </a:lnTo>
                  <a:lnTo>
                    <a:pt x="564" y="212"/>
                  </a:lnTo>
                  <a:lnTo>
                    <a:pt x="562" y="198"/>
                  </a:lnTo>
                  <a:lnTo>
                    <a:pt x="564" y="189"/>
                  </a:lnTo>
                  <a:lnTo>
                    <a:pt x="579" y="166"/>
                  </a:lnTo>
                  <a:lnTo>
                    <a:pt x="588" y="157"/>
                  </a:lnTo>
                  <a:lnTo>
                    <a:pt x="596" y="148"/>
                  </a:lnTo>
                  <a:lnTo>
                    <a:pt x="602" y="137"/>
                  </a:lnTo>
                  <a:lnTo>
                    <a:pt x="605" y="113"/>
                  </a:lnTo>
                  <a:lnTo>
                    <a:pt x="596" y="105"/>
                  </a:lnTo>
                  <a:lnTo>
                    <a:pt x="559" y="105"/>
                  </a:lnTo>
                  <a:lnTo>
                    <a:pt x="556" y="111"/>
                  </a:lnTo>
                  <a:lnTo>
                    <a:pt x="541" y="122"/>
                  </a:lnTo>
                  <a:lnTo>
                    <a:pt x="541" y="128"/>
                  </a:lnTo>
                  <a:lnTo>
                    <a:pt x="541" y="134"/>
                  </a:lnTo>
                  <a:lnTo>
                    <a:pt x="541" y="137"/>
                  </a:lnTo>
                  <a:lnTo>
                    <a:pt x="544" y="148"/>
                  </a:lnTo>
                  <a:lnTo>
                    <a:pt x="541" y="157"/>
                  </a:lnTo>
                  <a:lnTo>
                    <a:pt x="535" y="169"/>
                  </a:lnTo>
                  <a:lnTo>
                    <a:pt x="509" y="198"/>
                  </a:lnTo>
                  <a:lnTo>
                    <a:pt x="486" y="209"/>
                  </a:lnTo>
                  <a:lnTo>
                    <a:pt x="465" y="227"/>
                  </a:lnTo>
                  <a:lnTo>
                    <a:pt x="457" y="233"/>
                  </a:lnTo>
                  <a:lnTo>
                    <a:pt x="451" y="230"/>
                  </a:lnTo>
                  <a:lnTo>
                    <a:pt x="448" y="224"/>
                  </a:lnTo>
                  <a:lnTo>
                    <a:pt x="422" y="207"/>
                  </a:lnTo>
                  <a:lnTo>
                    <a:pt x="407" y="186"/>
                  </a:lnTo>
                  <a:lnTo>
                    <a:pt x="416" y="160"/>
                  </a:lnTo>
                  <a:lnTo>
                    <a:pt x="410" y="145"/>
                  </a:lnTo>
                  <a:lnTo>
                    <a:pt x="399" y="140"/>
                  </a:lnTo>
                  <a:lnTo>
                    <a:pt x="407" y="137"/>
                  </a:lnTo>
                  <a:lnTo>
                    <a:pt x="413" y="131"/>
                  </a:lnTo>
                  <a:lnTo>
                    <a:pt x="413" y="111"/>
                  </a:lnTo>
                  <a:lnTo>
                    <a:pt x="419" y="96"/>
                  </a:lnTo>
                  <a:lnTo>
                    <a:pt x="422" y="96"/>
                  </a:lnTo>
                  <a:lnTo>
                    <a:pt x="425" y="93"/>
                  </a:lnTo>
                  <a:lnTo>
                    <a:pt x="428" y="90"/>
                  </a:lnTo>
                  <a:lnTo>
                    <a:pt x="422" y="76"/>
                  </a:lnTo>
                  <a:lnTo>
                    <a:pt x="425" y="55"/>
                  </a:lnTo>
                  <a:lnTo>
                    <a:pt x="422" y="44"/>
                  </a:lnTo>
                  <a:lnTo>
                    <a:pt x="428" y="44"/>
                  </a:lnTo>
                  <a:lnTo>
                    <a:pt x="431" y="41"/>
                  </a:lnTo>
                  <a:lnTo>
                    <a:pt x="433" y="35"/>
                  </a:lnTo>
                  <a:lnTo>
                    <a:pt x="431" y="32"/>
                  </a:lnTo>
                  <a:lnTo>
                    <a:pt x="422" y="26"/>
                  </a:lnTo>
                  <a:lnTo>
                    <a:pt x="416" y="20"/>
                  </a:lnTo>
                  <a:lnTo>
                    <a:pt x="407" y="12"/>
                  </a:lnTo>
                  <a:lnTo>
                    <a:pt x="399" y="9"/>
                  </a:lnTo>
                  <a:lnTo>
                    <a:pt x="390" y="6"/>
                  </a:lnTo>
                  <a:lnTo>
                    <a:pt x="378" y="3"/>
                  </a:lnTo>
                  <a:lnTo>
                    <a:pt x="367" y="0"/>
                  </a:lnTo>
                  <a:lnTo>
                    <a:pt x="358" y="0"/>
                  </a:lnTo>
                  <a:lnTo>
                    <a:pt x="343" y="6"/>
                  </a:lnTo>
                  <a:lnTo>
                    <a:pt x="334" y="9"/>
                  </a:lnTo>
                  <a:lnTo>
                    <a:pt x="329" y="15"/>
                  </a:lnTo>
                  <a:lnTo>
                    <a:pt x="317" y="26"/>
                  </a:lnTo>
                  <a:lnTo>
                    <a:pt x="311" y="41"/>
                  </a:lnTo>
                  <a:lnTo>
                    <a:pt x="308" y="55"/>
                  </a:lnTo>
                  <a:lnTo>
                    <a:pt x="305" y="76"/>
                  </a:lnTo>
                  <a:lnTo>
                    <a:pt x="282" y="55"/>
                  </a:lnTo>
                  <a:lnTo>
                    <a:pt x="273" y="49"/>
                  </a:lnTo>
                  <a:lnTo>
                    <a:pt x="265" y="47"/>
                  </a:lnTo>
                  <a:lnTo>
                    <a:pt x="253" y="47"/>
                  </a:lnTo>
                  <a:lnTo>
                    <a:pt x="244" y="49"/>
                  </a:lnTo>
                  <a:lnTo>
                    <a:pt x="230" y="55"/>
                  </a:lnTo>
                  <a:lnTo>
                    <a:pt x="224" y="58"/>
                  </a:lnTo>
                  <a:lnTo>
                    <a:pt x="206" y="67"/>
                  </a:lnTo>
                  <a:lnTo>
                    <a:pt x="174" y="67"/>
                  </a:lnTo>
                  <a:lnTo>
                    <a:pt x="142" y="76"/>
                  </a:lnTo>
                  <a:lnTo>
                    <a:pt x="122" y="79"/>
                  </a:lnTo>
                  <a:lnTo>
                    <a:pt x="105" y="81"/>
                  </a:lnTo>
                  <a:lnTo>
                    <a:pt x="93" y="87"/>
                  </a:lnTo>
                  <a:lnTo>
                    <a:pt x="84" y="96"/>
                  </a:lnTo>
                  <a:lnTo>
                    <a:pt x="17" y="201"/>
                  </a:lnTo>
                  <a:lnTo>
                    <a:pt x="17" y="207"/>
                  </a:lnTo>
                  <a:lnTo>
                    <a:pt x="6" y="207"/>
                  </a:lnTo>
                  <a:lnTo>
                    <a:pt x="0" y="224"/>
                  </a:lnTo>
                  <a:lnTo>
                    <a:pt x="6" y="233"/>
                  </a:lnTo>
                  <a:lnTo>
                    <a:pt x="11" y="236"/>
                  </a:lnTo>
                  <a:lnTo>
                    <a:pt x="14" y="241"/>
                  </a:lnTo>
                  <a:lnTo>
                    <a:pt x="29" y="244"/>
                  </a:lnTo>
                  <a:lnTo>
                    <a:pt x="43" y="247"/>
                  </a:lnTo>
                  <a:lnTo>
                    <a:pt x="49" y="239"/>
                  </a:lnTo>
                  <a:lnTo>
                    <a:pt x="52" y="233"/>
                  </a:lnTo>
                  <a:lnTo>
                    <a:pt x="55" y="221"/>
                  </a:lnTo>
                  <a:lnTo>
                    <a:pt x="70" y="207"/>
                  </a:lnTo>
                  <a:lnTo>
                    <a:pt x="73" y="198"/>
                  </a:lnTo>
                  <a:lnTo>
                    <a:pt x="93" y="175"/>
                  </a:lnTo>
                  <a:lnTo>
                    <a:pt x="96" y="166"/>
                  </a:lnTo>
                  <a:lnTo>
                    <a:pt x="105" y="166"/>
                  </a:lnTo>
                  <a:lnTo>
                    <a:pt x="134" y="143"/>
                  </a:lnTo>
                  <a:lnTo>
                    <a:pt x="160" y="140"/>
                  </a:lnTo>
                  <a:lnTo>
                    <a:pt x="183" y="134"/>
                  </a:lnTo>
                  <a:lnTo>
                    <a:pt x="183" y="140"/>
                  </a:lnTo>
                  <a:lnTo>
                    <a:pt x="139" y="215"/>
                  </a:lnTo>
                  <a:lnTo>
                    <a:pt x="131" y="221"/>
                  </a:lnTo>
                  <a:lnTo>
                    <a:pt x="128" y="227"/>
                  </a:lnTo>
                  <a:lnTo>
                    <a:pt x="128" y="241"/>
                  </a:lnTo>
                  <a:lnTo>
                    <a:pt x="116" y="244"/>
                  </a:lnTo>
                  <a:lnTo>
                    <a:pt x="110" y="253"/>
                  </a:lnTo>
                  <a:lnTo>
                    <a:pt x="73" y="291"/>
                  </a:lnTo>
                  <a:lnTo>
                    <a:pt x="73" y="303"/>
                  </a:lnTo>
                  <a:lnTo>
                    <a:pt x="78" y="317"/>
                  </a:lnTo>
                  <a:lnTo>
                    <a:pt x="84" y="337"/>
                  </a:lnTo>
                  <a:lnTo>
                    <a:pt x="87" y="361"/>
                  </a:lnTo>
                  <a:lnTo>
                    <a:pt x="90" y="364"/>
                  </a:lnTo>
                  <a:lnTo>
                    <a:pt x="93" y="375"/>
                  </a:lnTo>
                  <a:lnTo>
                    <a:pt x="99" y="390"/>
                  </a:lnTo>
                  <a:lnTo>
                    <a:pt x="105" y="399"/>
                  </a:lnTo>
                  <a:lnTo>
                    <a:pt x="113" y="410"/>
                  </a:lnTo>
                  <a:lnTo>
                    <a:pt x="128" y="422"/>
                  </a:lnTo>
                  <a:lnTo>
                    <a:pt x="134" y="428"/>
                  </a:lnTo>
                  <a:lnTo>
                    <a:pt x="137" y="436"/>
                  </a:lnTo>
                  <a:lnTo>
                    <a:pt x="125" y="433"/>
                  </a:lnTo>
                  <a:lnTo>
                    <a:pt x="113" y="436"/>
                  </a:lnTo>
                  <a:lnTo>
                    <a:pt x="102" y="442"/>
                  </a:lnTo>
                  <a:lnTo>
                    <a:pt x="96" y="433"/>
                  </a:lnTo>
                  <a:lnTo>
                    <a:pt x="90" y="428"/>
                  </a:lnTo>
                  <a:lnTo>
                    <a:pt x="84" y="425"/>
                  </a:lnTo>
                  <a:lnTo>
                    <a:pt x="78" y="425"/>
                  </a:lnTo>
                  <a:lnTo>
                    <a:pt x="73" y="428"/>
                  </a:lnTo>
                  <a:lnTo>
                    <a:pt x="64" y="431"/>
                  </a:lnTo>
                  <a:lnTo>
                    <a:pt x="64" y="436"/>
                  </a:lnTo>
                  <a:lnTo>
                    <a:pt x="43" y="463"/>
                  </a:lnTo>
                  <a:lnTo>
                    <a:pt x="55" y="468"/>
                  </a:lnTo>
                  <a:lnTo>
                    <a:pt x="38" y="480"/>
                  </a:lnTo>
                  <a:lnTo>
                    <a:pt x="26" y="492"/>
                  </a:lnTo>
                  <a:lnTo>
                    <a:pt x="17" y="506"/>
                  </a:lnTo>
                  <a:lnTo>
                    <a:pt x="11" y="521"/>
                  </a:lnTo>
                  <a:lnTo>
                    <a:pt x="8" y="535"/>
                  </a:lnTo>
                  <a:lnTo>
                    <a:pt x="8" y="556"/>
                  </a:lnTo>
                  <a:lnTo>
                    <a:pt x="8" y="564"/>
                  </a:lnTo>
                  <a:lnTo>
                    <a:pt x="38" y="561"/>
                  </a:lnTo>
                  <a:lnTo>
                    <a:pt x="43" y="550"/>
                  </a:lnTo>
                  <a:lnTo>
                    <a:pt x="55" y="538"/>
                  </a:lnTo>
                  <a:lnTo>
                    <a:pt x="67" y="529"/>
                  </a:lnTo>
                  <a:lnTo>
                    <a:pt x="81" y="524"/>
                  </a:lnTo>
                  <a:lnTo>
                    <a:pt x="105" y="515"/>
                  </a:lnTo>
                  <a:lnTo>
                    <a:pt x="116" y="512"/>
                  </a:lnTo>
                  <a:lnTo>
                    <a:pt x="119" y="529"/>
                  </a:lnTo>
                  <a:lnTo>
                    <a:pt x="163" y="512"/>
                  </a:lnTo>
                  <a:lnTo>
                    <a:pt x="206" y="506"/>
                  </a:lnTo>
                  <a:lnTo>
                    <a:pt x="215" y="503"/>
                  </a:lnTo>
                  <a:lnTo>
                    <a:pt x="241" y="500"/>
                  </a:lnTo>
                  <a:lnTo>
                    <a:pt x="250" y="495"/>
                  </a:lnTo>
                  <a:lnTo>
                    <a:pt x="262" y="492"/>
                  </a:lnTo>
                  <a:lnTo>
                    <a:pt x="273" y="492"/>
                  </a:lnTo>
                  <a:lnTo>
                    <a:pt x="282" y="492"/>
                  </a:lnTo>
                  <a:lnTo>
                    <a:pt x="291" y="489"/>
                  </a:lnTo>
                  <a:lnTo>
                    <a:pt x="305" y="480"/>
                  </a:lnTo>
                  <a:lnTo>
                    <a:pt x="320" y="468"/>
                  </a:lnTo>
                  <a:lnTo>
                    <a:pt x="329" y="468"/>
                  </a:lnTo>
                  <a:lnTo>
                    <a:pt x="334" y="463"/>
                  </a:lnTo>
                  <a:lnTo>
                    <a:pt x="337" y="457"/>
                  </a:lnTo>
                  <a:lnTo>
                    <a:pt x="340" y="448"/>
                  </a:lnTo>
                  <a:lnTo>
                    <a:pt x="340" y="439"/>
                  </a:lnTo>
                  <a:lnTo>
                    <a:pt x="340" y="428"/>
                  </a:lnTo>
                  <a:lnTo>
                    <a:pt x="372" y="413"/>
                  </a:lnTo>
                  <a:lnTo>
                    <a:pt x="407" y="419"/>
                  </a:lnTo>
                  <a:lnTo>
                    <a:pt x="416" y="436"/>
                  </a:lnTo>
                  <a:lnTo>
                    <a:pt x="431" y="448"/>
                  </a:lnTo>
                  <a:lnTo>
                    <a:pt x="486" y="474"/>
                  </a:lnTo>
                  <a:lnTo>
                    <a:pt x="512" y="486"/>
                  </a:lnTo>
                  <a:lnTo>
                    <a:pt x="541" y="500"/>
                  </a:lnTo>
                  <a:lnTo>
                    <a:pt x="564" y="515"/>
                  </a:lnTo>
                  <a:lnTo>
                    <a:pt x="576" y="515"/>
                  </a:lnTo>
                  <a:lnTo>
                    <a:pt x="591" y="532"/>
                  </a:lnTo>
                  <a:lnTo>
                    <a:pt x="605" y="538"/>
                  </a:lnTo>
                  <a:lnTo>
                    <a:pt x="608" y="553"/>
                  </a:lnTo>
                  <a:lnTo>
                    <a:pt x="617" y="567"/>
                  </a:lnTo>
                  <a:lnTo>
                    <a:pt x="628" y="588"/>
                  </a:lnTo>
                  <a:lnTo>
                    <a:pt x="634" y="591"/>
                  </a:lnTo>
                  <a:lnTo>
                    <a:pt x="640" y="591"/>
                  </a:lnTo>
                  <a:lnTo>
                    <a:pt x="643" y="588"/>
                  </a:lnTo>
                  <a:lnTo>
                    <a:pt x="684" y="564"/>
                  </a:lnTo>
                  <a:lnTo>
                    <a:pt x="681" y="553"/>
                  </a:lnTo>
                  <a:lnTo>
                    <a:pt x="707" y="544"/>
                  </a:lnTo>
                  <a:lnTo>
                    <a:pt x="727" y="538"/>
                  </a:lnTo>
                  <a:lnTo>
                    <a:pt x="745" y="529"/>
                  </a:lnTo>
                  <a:lnTo>
                    <a:pt x="759" y="515"/>
                  </a:lnTo>
                  <a:lnTo>
                    <a:pt x="771" y="503"/>
                  </a:lnTo>
                  <a:lnTo>
                    <a:pt x="789" y="480"/>
                  </a:lnTo>
                  <a:lnTo>
                    <a:pt x="794" y="471"/>
                  </a:lnTo>
                  <a:lnTo>
                    <a:pt x="783" y="4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Freeform 590"/>
            <p:cNvSpPr>
              <a:spLocks/>
            </p:cNvSpPr>
            <p:nvPr/>
          </p:nvSpPr>
          <p:spPr bwMode="auto">
            <a:xfrm>
              <a:off x="5451490" y="938536"/>
              <a:ext cx="423420" cy="112226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5"/>
                </a:cxn>
                <a:cxn ang="0">
                  <a:pos x="15" y="12"/>
                </a:cxn>
                <a:cxn ang="0">
                  <a:pos x="29" y="3"/>
                </a:cxn>
                <a:cxn ang="0">
                  <a:pos x="29" y="3"/>
                </a:cxn>
                <a:cxn ang="0">
                  <a:pos x="35" y="0"/>
                </a:cxn>
                <a:cxn ang="0">
                  <a:pos x="41" y="3"/>
                </a:cxn>
                <a:cxn ang="0">
                  <a:pos x="50" y="12"/>
                </a:cxn>
                <a:cxn ang="0">
                  <a:pos x="50" y="12"/>
                </a:cxn>
                <a:cxn ang="0">
                  <a:pos x="61" y="15"/>
                </a:cxn>
                <a:cxn ang="0">
                  <a:pos x="76" y="18"/>
                </a:cxn>
                <a:cxn ang="0">
                  <a:pos x="102" y="15"/>
                </a:cxn>
                <a:cxn ang="0">
                  <a:pos x="102" y="15"/>
                </a:cxn>
                <a:cxn ang="0">
                  <a:pos x="114" y="15"/>
                </a:cxn>
                <a:cxn ang="0">
                  <a:pos x="125" y="18"/>
                </a:cxn>
                <a:cxn ang="0">
                  <a:pos x="125" y="18"/>
                </a:cxn>
                <a:cxn ang="0">
                  <a:pos x="140" y="21"/>
                </a:cxn>
                <a:cxn ang="0">
                  <a:pos x="140" y="21"/>
                </a:cxn>
                <a:cxn ang="0">
                  <a:pos x="134" y="27"/>
                </a:cxn>
                <a:cxn ang="0">
                  <a:pos x="128" y="29"/>
                </a:cxn>
                <a:cxn ang="0">
                  <a:pos x="128" y="29"/>
                </a:cxn>
                <a:cxn ang="0">
                  <a:pos x="120" y="29"/>
                </a:cxn>
                <a:cxn ang="0">
                  <a:pos x="111" y="29"/>
                </a:cxn>
                <a:cxn ang="0">
                  <a:pos x="111" y="29"/>
                </a:cxn>
                <a:cxn ang="0">
                  <a:pos x="96" y="29"/>
                </a:cxn>
                <a:cxn ang="0">
                  <a:pos x="79" y="32"/>
                </a:cxn>
                <a:cxn ang="0">
                  <a:pos x="79" y="32"/>
                </a:cxn>
                <a:cxn ang="0">
                  <a:pos x="56" y="38"/>
                </a:cxn>
                <a:cxn ang="0">
                  <a:pos x="44" y="38"/>
                </a:cxn>
                <a:cxn ang="0">
                  <a:pos x="32" y="35"/>
                </a:cxn>
                <a:cxn ang="0">
                  <a:pos x="32" y="35"/>
                </a:cxn>
                <a:cxn ang="0">
                  <a:pos x="21" y="29"/>
                </a:cxn>
                <a:cxn ang="0">
                  <a:pos x="12" y="24"/>
                </a:cxn>
                <a:cxn ang="0">
                  <a:pos x="0" y="15"/>
                </a:cxn>
              </a:cxnLst>
              <a:rect l="0" t="0" r="r" b="b"/>
              <a:pathLst>
                <a:path w="140" h="38">
                  <a:moveTo>
                    <a:pt x="0" y="15"/>
                  </a:moveTo>
                  <a:lnTo>
                    <a:pt x="0" y="15"/>
                  </a:lnTo>
                  <a:lnTo>
                    <a:pt x="15" y="1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5" y="0"/>
                  </a:lnTo>
                  <a:lnTo>
                    <a:pt x="41" y="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61" y="15"/>
                  </a:lnTo>
                  <a:lnTo>
                    <a:pt x="76" y="18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14" y="15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34" y="27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0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96" y="29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56" y="38"/>
                  </a:lnTo>
                  <a:lnTo>
                    <a:pt x="44" y="38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21" y="29"/>
                  </a:lnTo>
                  <a:lnTo>
                    <a:pt x="12" y="24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+mn-ea"/>
              </a:endParaRPr>
            </a:p>
          </p:txBody>
        </p:sp>
        <p:sp>
          <p:nvSpPr>
            <p:cNvPr id="3096" name="Freeform 591"/>
            <p:cNvSpPr>
              <a:spLocks noEditPoints="1"/>
            </p:cNvSpPr>
            <p:nvPr/>
          </p:nvSpPr>
          <p:spPr bwMode="auto">
            <a:xfrm>
              <a:off x="5689798" y="877225"/>
              <a:ext cx="298439" cy="340643"/>
            </a:xfrm>
            <a:custGeom>
              <a:avLst/>
              <a:gdLst>
                <a:gd name="T0" fmla="*/ 2147483647 w 99"/>
                <a:gd name="T1" fmla="*/ 2147483647 h 113"/>
                <a:gd name="T2" fmla="*/ 2147483647 w 99"/>
                <a:gd name="T3" fmla="*/ 2147483647 h 113"/>
                <a:gd name="T4" fmla="*/ 2147483647 w 99"/>
                <a:gd name="T5" fmla="*/ 2147483647 h 113"/>
                <a:gd name="T6" fmla="*/ 2147483647 w 99"/>
                <a:gd name="T7" fmla="*/ 0 h 113"/>
                <a:gd name="T8" fmla="*/ 2147483647 w 99"/>
                <a:gd name="T9" fmla="*/ 2147483647 h 113"/>
                <a:gd name="T10" fmla="*/ 2147483647 w 99"/>
                <a:gd name="T11" fmla="*/ 2147483647 h 113"/>
                <a:gd name="T12" fmla="*/ 2147483647 w 99"/>
                <a:gd name="T13" fmla="*/ 2147483647 h 113"/>
                <a:gd name="T14" fmla="*/ 2147483647 w 99"/>
                <a:gd name="T15" fmla="*/ 2147483647 h 113"/>
                <a:gd name="T16" fmla="*/ 0 w 99"/>
                <a:gd name="T17" fmla="*/ 2147483647 h 113"/>
                <a:gd name="T18" fmla="*/ 2147483647 w 99"/>
                <a:gd name="T19" fmla="*/ 2147483647 h 113"/>
                <a:gd name="T20" fmla="*/ 2147483647 w 99"/>
                <a:gd name="T21" fmla="*/ 2147483647 h 113"/>
                <a:gd name="T22" fmla="*/ 2147483647 w 99"/>
                <a:gd name="T23" fmla="*/ 2147483647 h 113"/>
                <a:gd name="T24" fmla="*/ 2147483647 w 99"/>
                <a:gd name="T25" fmla="*/ 2147483647 h 113"/>
                <a:gd name="T26" fmla="*/ 2147483647 w 99"/>
                <a:gd name="T27" fmla="*/ 2147483647 h 113"/>
                <a:gd name="T28" fmla="*/ 2147483647 w 99"/>
                <a:gd name="T29" fmla="*/ 2147483647 h 113"/>
                <a:gd name="T30" fmla="*/ 2147483647 w 99"/>
                <a:gd name="T31" fmla="*/ 2147483647 h 113"/>
                <a:gd name="T32" fmla="*/ 2147483647 w 99"/>
                <a:gd name="T33" fmla="*/ 2147483647 h 113"/>
                <a:gd name="T34" fmla="*/ 2147483647 w 99"/>
                <a:gd name="T35" fmla="*/ 2147483647 h 113"/>
                <a:gd name="T36" fmla="*/ 2147483647 w 99"/>
                <a:gd name="T37" fmla="*/ 2147483647 h 113"/>
                <a:gd name="T38" fmla="*/ 2147483647 w 99"/>
                <a:gd name="T39" fmla="*/ 2147483647 h 113"/>
                <a:gd name="T40" fmla="*/ 2147483647 w 99"/>
                <a:gd name="T41" fmla="*/ 2147483647 h 113"/>
                <a:gd name="T42" fmla="*/ 2147483647 w 99"/>
                <a:gd name="T43" fmla="*/ 2147483647 h 113"/>
                <a:gd name="T44" fmla="*/ 2147483647 w 99"/>
                <a:gd name="T45" fmla="*/ 2147483647 h 113"/>
                <a:gd name="T46" fmla="*/ 2147483647 w 99"/>
                <a:gd name="T47" fmla="*/ 2147483647 h 113"/>
                <a:gd name="T48" fmla="*/ 2147483647 w 99"/>
                <a:gd name="T49" fmla="*/ 2147483647 h 113"/>
                <a:gd name="T50" fmla="*/ 2147483647 w 99"/>
                <a:gd name="T51" fmla="*/ 2147483647 h 113"/>
                <a:gd name="T52" fmla="*/ 2147483647 w 99"/>
                <a:gd name="T53" fmla="*/ 2147483647 h 113"/>
                <a:gd name="T54" fmla="*/ 2147483647 w 99"/>
                <a:gd name="T55" fmla="*/ 2147483647 h 1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9"/>
                <a:gd name="T85" fmla="*/ 0 h 113"/>
                <a:gd name="T86" fmla="*/ 99 w 99"/>
                <a:gd name="T87" fmla="*/ 113 h 1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9" h="113">
                  <a:moveTo>
                    <a:pt x="73" y="38"/>
                  </a:moveTo>
                  <a:lnTo>
                    <a:pt x="70" y="29"/>
                  </a:lnTo>
                  <a:lnTo>
                    <a:pt x="64" y="12"/>
                  </a:lnTo>
                  <a:lnTo>
                    <a:pt x="38" y="0"/>
                  </a:lnTo>
                  <a:lnTo>
                    <a:pt x="41" y="17"/>
                  </a:lnTo>
                  <a:lnTo>
                    <a:pt x="35" y="32"/>
                  </a:lnTo>
                  <a:lnTo>
                    <a:pt x="26" y="49"/>
                  </a:lnTo>
                  <a:lnTo>
                    <a:pt x="6" y="79"/>
                  </a:lnTo>
                  <a:lnTo>
                    <a:pt x="0" y="113"/>
                  </a:lnTo>
                  <a:lnTo>
                    <a:pt x="3" y="108"/>
                  </a:lnTo>
                  <a:lnTo>
                    <a:pt x="17" y="102"/>
                  </a:lnTo>
                  <a:lnTo>
                    <a:pt x="32" y="96"/>
                  </a:lnTo>
                  <a:lnTo>
                    <a:pt x="46" y="93"/>
                  </a:lnTo>
                  <a:lnTo>
                    <a:pt x="58" y="90"/>
                  </a:lnTo>
                  <a:lnTo>
                    <a:pt x="64" y="90"/>
                  </a:lnTo>
                  <a:lnTo>
                    <a:pt x="81" y="79"/>
                  </a:lnTo>
                  <a:lnTo>
                    <a:pt x="93" y="61"/>
                  </a:lnTo>
                  <a:lnTo>
                    <a:pt x="99" y="41"/>
                  </a:lnTo>
                  <a:lnTo>
                    <a:pt x="73" y="38"/>
                  </a:lnTo>
                  <a:close/>
                  <a:moveTo>
                    <a:pt x="79" y="47"/>
                  </a:moveTo>
                  <a:lnTo>
                    <a:pt x="79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97" name="Freeform 592"/>
            <p:cNvSpPr>
              <a:spLocks/>
            </p:cNvSpPr>
            <p:nvPr/>
          </p:nvSpPr>
          <p:spPr bwMode="auto">
            <a:xfrm>
              <a:off x="5768176" y="982734"/>
              <a:ext cx="150727" cy="78378"/>
            </a:xfrm>
            <a:custGeom>
              <a:avLst/>
              <a:gdLst>
                <a:gd name="T0" fmla="*/ 2147483647 w 50"/>
                <a:gd name="T1" fmla="*/ 2147483647 h 26"/>
                <a:gd name="T2" fmla="*/ 2147483647 w 50"/>
                <a:gd name="T3" fmla="*/ 2147483647 h 26"/>
                <a:gd name="T4" fmla="*/ 2147483647 w 50"/>
                <a:gd name="T5" fmla="*/ 2147483647 h 26"/>
                <a:gd name="T6" fmla="*/ 2147483647 w 50"/>
                <a:gd name="T7" fmla="*/ 2147483647 h 26"/>
                <a:gd name="T8" fmla="*/ 2147483647 w 50"/>
                <a:gd name="T9" fmla="*/ 2147483647 h 26"/>
                <a:gd name="T10" fmla="*/ 2147483647 w 50"/>
                <a:gd name="T11" fmla="*/ 2147483647 h 26"/>
                <a:gd name="T12" fmla="*/ 2147483647 w 50"/>
                <a:gd name="T13" fmla="*/ 2147483647 h 26"/>
                <a:gd name="T14" fmla="*/ 2147483647 w 50"/>
                <a:gd name="T15" fmla="*/ 2147483647 h 26"/>
                <a:gd name="T16" fmla="*/ 2147483647 w 50"/>
                <a:gd name="T17" fmla="*/ 2147483647 h 26"/>
                <a:gd name="T18" fmla="*/ 2147483647 w 50"/>
                <a:gd name="T19" fmla="*/ 2147483647 h 26"/>
                <a:gd name="T20" fmla="*/ 2147483647 w 50"/>
                <a:gd name="T21" fmla="*/ 0 h 26"/>
                <a:gd name="T22" fmla="*/ 2147483647 w 50"/>
                <a:gd name="T23" fmla="*/ 0 h 26"/>
                <a:gd name="T24" fmla="*/ 2147483647 w 50"/>
                <a:gd name="T25" fmla="*/ 0 h 26"/>
                <a:gd name="T26" fmla="*/ 2147483647 w 50"/>
                <a:gd name="T27" fmla="*/ 0 h 26"/>
                <a:gd name="T28" fmla="*/ 2147483647 w 50"/>
                <a:gd name="T29" fmla="*/ 2147483647 h 26"/>
                <a:gd name="T30" fmla="*/ 2147483647 w 50"/>
                <a:gd name="T31" fmla="*/ 2147483647 h 26"/>
                <a:gd name="T32" fmla="*/ 2147483647 w 50"/>
                <a:gd name="T33" fmla="*/ 2147483647 h 26"/>
                <a:gd name="T34" fmla="*/ 2147483647 w 50"/>
                <a:gd name="T35" fmla="*/ 2147483647 h 26"/>
                <a:gd name="T36" fmla="*/ 2147483647 w 50"/>
                <a:gd name="T37" fmla="*/ 2147483647 h 26"/>
                <a:gd name="T38" fmla="*/ 2147483647 w 50"/>
                <a:gd name="T39" fmla="*/ 2147483647 h 26"/>
                <a:gd name="T40" fmla="*/ 2147483647 w 50"/>
                <a:gd name="T41" fmla="*/ 2147483647 h 26"/>
                <a:gd name="T42" fmla="*/ 2147483647 w 50"/>
                <a:gd name="T43" fmla="*/ 2147483647 h 26"/>
                <a:gd name="T44" fmla="*/ 2147483647 w 50"/>
                <a:gd name="T45" fmla="*/ 2147483647 h 26"/>
                <a:gd name="T46" fmla="*/ 2147483647 w 50"/>
                <a:gd name="T47" fmla="*/ 2147483647 h 26"/>
                <a:gd name="T48" fmla="*/ 2147483647 w 50"/>
                <a:gd name="T49" fmla="*/ 2147483647 h 26"/>
                <a:gd name="T50" fmla="*/ 0 w 50"/>
                <a:gd name="T51" fmla="*/ 2147483647 h 26"/>
                <a:gd name="T52" fmla="*/ 0 w 50"/>
                <a:gd name="T53" fmla="*/ 2147483647 h 26"/>
                <a:gd name="T54" fmla="*/ 2147483647 w 50"/>
                <a:gd name="T55" fmla="*/ 2147483647 h 26"/>
                <a:gd name="T56" fmla="*/ 2147483647 w 50"/>
                <a:gd name="T57" fmla="*/ 2147483647 h 2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0"/>
                <a:gd name="T88" fmla="*/ 0 h 26"/>
                <a:gd name="T89" fmla="*/ 50 w 50"/>
                <a:gd name="T90" fmla="*/ 26 h 2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0" h="26">
                  <a:moveTo>
                    <a:pt x="9" y="14"/>
                  </a:moveTo>
                  <a:lnTo>
                    <a:pt x="9" y="14"/>
                  </a:lnTo>
                  <a:lnTo>
                    <a:pt x="18" y="17"/>
                  </a:lnTo>
                  <a:lnTo>
                    <a:pt x="29" y="23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7" y="23"/>
                  </a:lnTo>
                  <a:lnTo>
                    <a:pt x="50" y="14"/>
                  </a:lnTo>
                  <a:lnTo>
                    <a:pt x="50" y="6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6"/>
                  </a:lnTo>
                  <a:lnTo>
                    <a:pt x="35" y="9"/>
                  </a:lnTo>
                  <a:lnTo>
                    <a:pt x="32" y="12"/>
                  </a:lnTo>
                  <a:lnTo>
                    <a:pt x="23" y="9"/>
                  </a:lnTo>
                  <a:lnTo>
                    <a:pt x="15" y="3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7"/>
                  </a:lnTo>
                  <a:lnTo>
                    <a:pt x="9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5369" name="Freeform 6"/>
          <p:cNvSpPr>
            <a:spLocks noEditPoints="1"/>
          </p:cNvSpPr>
          <p:nvPr/>
        </p:nvSpPr>
        <p:spPr bwMode="auto">
          <a:xfrm>
            <a:off x="3532188" y="3875088"/>
            <a:ext cx="544512" cy="1071562"/>
          </a:xfrm>
          <a:custGeom>
            <a:avLst/>
            <a:gdLst>
              <a:gd name="T0" fmla="*/ 2147483647 w 1746"/>
              <a:gd name="T1" fmla="*/ 2147483647 h 3442"/>
              <a:gd name="T2" fmla="*/ 2147483647 w 1746"/>
              <a:gd name="T3" fmla="*/ 2147483647 h 3442"/>
              <a:gd name="T4" fmla="*/ 2147483647 w 1746"/>
              <a:gd name="T5" fmla="*/ 2147483647 h 3442"/>
              <a:gd name="T6" fmla="*/ 2147483647 w 1746"/>
              <a:gd name="T7" fmla="*/ 2147483647 h 3442"/>
              <a:gd name="T8" fmla="*/ 2147483647 w 1746"/>
              <a:gd name="T9" fmla="*/ 2147483647 h 3442"/>
              <a:gd name="T10" fmla="*/ 2147483647 w 1746"/>
              <a:gd name="T11" fmla="*/ 2147483647 h 3442"/>
              <a:gd name="T12" fmla="*/ 2147483647 w 1746"/>
              <a:gd name="T13" fmla="*/ 2147483647 h 3442"/>
              <a:gd name="T14" fmla="*/ 2147483647 w 1746"/>
              <a:gd name="T15" fmla="*/ 2147483647 h 3442"/>
              <a:gd name="T16" fmla="*/ 2147483647 w 1746"/>
              <a:gd name="T17" fmla="*/ 2147483647 h 3442"/>
              <a:gd name="T18" fmla="*/ 2147483647 w 1746"/>
              <a:gd name="T19" fmla="*/ 2147483647 h 3442"/>
              <a:gd name="T20" fmla="*/ 2147483647 w 1746"/>
              <a:gd name="T21" fmla="*/ 2147483647 h 3442"/>
              <a:gd name="T22" fmla="*/ 2147483647 w 1746"/>
              <a:gd name="T23" fmla="*/ 2147483647 h 3442"/>
              <a:gd name="T24" fmla="*/ 2147483647 w 1746"/>
              <a:gd name="T25" fmla="*/ 2147483647 h 3442"/>
              <a:gd name="T26" fmla="*/ 2147483647 w 1746"/>
              <a:gd name="T27" fmla="*/ 2147483647 h 3442"/>
              <a:gd name="T28" fmla="*/ 2147483647 w 1746"/>
              <a:gd name="T29" fmla="*/ 2147483647 h 3442"/>
              <a:gd name="T30" fmla="*/ 2147483647 w 1746"/>
              <a:gd name="T31" fmla="*/ 2147483647 h 3442"/>
              <a:gd name="T32" fmla="*/ 2147483647 w 1746"/>
              <a:gd name="T33" fmla="*/ 2147483647 h 3442"/>
              <a:gd name="T34" fmla="*/ 2147483647 w 1746"/>
              <a:gd name="T35" fmla="*/ 2147483647 h 3442"/>
              <a:gd name="T36" fmla="*/ 2147483647 w 1746"/>
              <a:gd name="T37" fmla="*/ 2147483647 h 3442"/>
              <a:gd name="T38" fmla="*/ 0 w 1746"/>
              <a:gd name="T39" fmla="*/ 2147483647 h 3442"/>
              <a:gd name="T40" fmla="*/ 2147483647 w 1746"/>
              <a:gd name="T41" fmla="*/ 2147483647 h 3442"/>
              <a:gd name="T42" fmla="*/ 2147483647 w 1746"/>
              <a:gd name="T43" fmla="*/ 2147483647 h 3442"/>
              <a:gd name="T44" fmla="*/ 2147483647 w 1746"/>
              <a:gd name="T45" fmla="*/ 2147483647 h 3442"/>
              <a:gd name="T46" fmla="*/ 2147483647 w 1746"/>
              <a:gd name="T47" fmla="*/ 2147483647 h 3442"/>
              <a:gd name="T48" fmla="*/ 2147483647 w 1746"/>
              <a:gd name="T49" fmla="*/ 2147483647 h 3442"/>
              <a:gd name="T50" fmla="*/ 2147483647 w 1746"/>
              <a:gd name="T51" fmla="*/ 2147483647 h 3442"/>
              <a:gd name="T52" fmla="*/ 2147483647 w 1746"/>
              <a:gd name="T53" fmla="*/ 2147483647 h 3442"/>
              <a:gd name="T54" fmla="*/ 2147483647 w 1746"/>
              <a:gd name="T55" fmla="*/ 2147483647 h 3442"/>
              <a:gd name="T56" fmla="*/ 2147483647 w 1746"/>
              <a:gd name="T57" fmla="*/ 2147483647 h 3442"/>
              <a:gd name="T58" fmla="*/ 2147483647 w 1746"/>
              <a:gd name="T59" fmla="*/ 2147483647 h 3442"/>
              <a:gd name="T60" fmla="*/ 2147483647 w 1746"/>
              <a:gd name="T61" fmla="*/ 2147483647 h 3442"/>
              <a:gd name="T62" fmla="*/ 2147483647 w 1746"/>
              <a:gd name="T63" fmla="*/ 2147483647 h 3442"/>
              <a:gd name="T64" fmla="*/ 2147483647 w 1746"/>
              <a:gd name="T65" fmla="*/ 2147483647 h 3442"/>
              <a:gd name="T66" fmla="*/ 2147483647 w 1746"/>
              <a:gd name="T67" fmla="*/ 2147483647 h 3442"/>
              <a:gd name="T68" fmla="*/ 2147483647 w 1746"/>
              <a:gd name="T69" fmla="*/ 2147483647 h 3442"/>
              <a:gd name="T70" fmla="*/ 2147483647 w 1746"/>
              <a:gd name="T71" fmla="*/ 2147483647 h 3442"/>
              <a:gd name="T72" fmla="*/ 2147483647 w 1746"/>
              <a:gd name="T73" fmla="*/ 2147483647 h 3442"/>
              <a:gd name="T74" fmla="*/ 2147483647 w 1746"/>
              <a:gd name="T75" fmla="*/ 2147483647 h 3442"/>
              <a:gd name="T76" fmla="*/ 2147483647 w 1746"/>
              <a:gd name="T77" fmla="*/ 2147483647 h 3442"/>
              <a:gd name="T78" fmla="*/ 2147483647 w 1746"/>
              <a:gd name="T79" fmla="*/ 2147483647 h 3442"/>
              <a:gd name="T80" fmla="*/ 2147483647 w 1746"/>
              <a:gd name="T81" fmla="*/ 2147483647 h 3442"/>
              <a:gd name="T82" fmla="*/ 2147483647 w 1746"/>
              <a:gd name="T83" fmla="*/ 2147483647 h 3442"/>
              <a:gd name="T84" fmla="*/ 2147483647 w 1746"/>
              <a:gd name="T85" fmla="*/ 2147483647 h 3442"/>
              <a:gd name="T86" fmla="*/ 2147483647 w 1746"/>
              <a:gd name="T87" fmla="*/ 2147483647 h 3442"/>
              <a:gd name="T88" fmla="*/ 2147483647 w 1746"/>
              <a:gd name="T89" fmla="*/ 2147483647 h 3442"/>
              <a:gd name="T90" fmla="*/ 2147483647 w 1746"/>
              <a:gd name="T91" fmla="*/ 2147483647 h 3442"/>
              <a:gd name="T92" fmla="*/ 2147483647 w 1746"/>
              <a:gd name="T93" fmla="*/ 2147483647 h 3442"/>
              <a:gd name="T94" fmla="*/ 2147483647 w 1746"/>
              <a:gd name="T95" fmla="*/ 2147483647 h 3442"/>
              <a:gd name="T96" fmla="*/ 2147483647 w 1746"/>
              <a:gd name="T97" fmla="*/ 2147483647 h 3442"/>
              <a:gd name="T98" fmla="*/ 2147483647 w 1746"/>
              <a:gd name="T99" fmla="*/ 2147483647 h 3442"/>
              <a:gd name="T100" fmla="*/ 2147483647 w 1746"/>
              <a:gd name="T101" fmla="*/ 2147483647 h 3442"/>
              <a:gd name="T102" fmla="*/ 2147483647 w 1746"/>
              <a:gd name="T103" fmla="*/ 2147483647 h 3442"/>
              <a:gd name="T104" fmla="*/ 2147483647 w 1746"/>
              <a:gd name="T105" fmla="*/ 2147483647 h 3442"/>
              <a:gd name="T106" fmla="*/ 2147483647 w 1746"/>
              <a:gd name="T107" fmla="*/ 2147483647 h 3442"/>
              <a:gd name="T108" fmla="*/ 2147483647 w 1746"/>
              <a:gd name="T109" fmla="*/ 2147483647 h 3442"/>
              <a:gd name="T110" fmla="*/ 2147483647 w 1746"/>
              <a:gd name="T111" fmla="*/ 2147483647 h 3442"/>
              <a:gd name="T112" fmla="*/ 2147483647 w 1746"/>
              <a:gd name="T113" fmla="*/ 2147483647 h 3442"/>
              <a:gd name="T114" fmla="*/ 2147483647 w 1746"/>
              <a:gd name="T115" fmla="*/ 2147483647 h 3442"/>
              <a:gd name="T116" fmla="*/ 2147483647 w 1746"/>
              <a:gd name="T117" fmla="*/ 2147483647 h 3442"/>
              <a:gd name="T118" fmla="*/ 2147483647 w 1746"/>
              <a:gd name="T119" fmla="*/ 2147483647 h 34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746"/>
              <a:gd name="T181" fmla="*/ 0 h 3442"/>
              <a:gd name="T182" fmla="*/ 1746 w 1746"/>
              <a:gd name="T183" fmla="*/ 3442 h 34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746" h="3442">
                <a:moveTo>
                  <a:pt x="1746" y="1446"/>
                </a:moveTo>
                <a:lnTo>
                  <a:pt x="1746" y="1446"/>
                </a:lnTo>
                <a:lnTo>
                  <a:pt x="1746" y="1392"/>
                </a:lnTo>
                <a:lnTo>
                  <a:pt x="1746" y="1266"/>
                </a:lnTo>
                <a:lnTo>
                  <a:pt x="1744" y="1240"/>
                </a:lnTo>
                <a:lnTo>
                  <a:pt x="1738" y="1214"/>
                </a:lnTo>
                <a:lnTo>
                  <a:pt x="1714" y="1146"/>
                </a:lnTo>
                <a:lnTo>
                  <a:pt x="1706" y="1120"/>
                </a:lnTo>
                <a:lnTo>
                  <a:pt x="1702" y="1094"/>
                </a:lnTo>
                <a:lnTo>
                  <a:pt x="1694" y="1002"/>
                </a:lnTo>
                <a:lnTo>
                  <a:pt x="1688" y="948"/>
                </a:lnTo>
                <a:lnTo>
                  <a:pt x="1670" y="822"/>
                </a:lnTo>
                <a:lnTo>
                  <a:pt x="1668" y="794"/>
                </a:lnTo>
                <a:lnTo>
                  <a:pt x="1666" y="766"/>
                </a:lnTo>
                <a:lnTo>
                  <a:pt x="1666" y="738"/>
                </a:lnTo>
                <a:lnTo>
                  <a:pt x="1664" y="714"/>
                </a:lnTo>
                <a:lnTo>
                  <a:pt x="1662" y="704"/>
                </a:lnTo>
                <a:lnTo>
                  <a:pt x="1658" y="696"/>
                </a:lnTo>
                <a:lnTo>
                  <a:pt x="1648" y="686"/>
                </a:lnTo>
                <a:lnTo>
                  <a:pt x="1636" y="678"/>
                </a:lnTo>
                <a:lnTo>
                  <a:pt x="1616" y="668"/>
                </a:lnTo>
                <a:lnTo>
                  <a:pt x="1602" y="660"/>
                </a:lnTo>
                <a:lnTo>
                  <a:pt x="1582" y="652"/>
                </a:lnTo>
                <a:lnTo>
                  <a:pt x="1426" y="588"/>
                </a:lnTo>
                <a:lnTo>
                  <a:pt x="1416" y="582"/>
                </a:lnTo>
                <a:lnTo>
                  <a:pt x="1406" y="574"/>
                </a:lnTo>
                <a:lnTo>
                  <a:pt x="1398" y="564"/>
                </a:lnTo>
                <a:lnTo>
                  <a:pt x="1394" y="554"/>
                </a:lnTo>
                <a:lnTo>
                  <a:pt x="1392" y="542"/>
                </a:lnTo>
                <a:lnTo>
                  <a:pt x="1394" y="532"/>
                </a:lnTo>
                <a:lnTo>
                  <a:pt x="1396" y="524"/>
                </a:lnTo>
                <a:lnTo>
                  <a:pt x="1402" y="516"/>
                </a:lnTo>
                <a:lnTo>
                  <a:pt x="1416" y="500"/>
                </a:lnTo>
                <a:lnTo>
                  <a:pt x="1430" y="480"/>
                </a:lnTo>
                <a:lnTo>
                  <a:pt x="1442" y="458"/>
                </a:lnTo>
                <a:lnTo>
                  <a:pt x="1448" y="446"/>
                </a:lnTo>
                <a:lnTo>
                  <a:pt x="1452" y="432"/>
                </a:lnTo>
                <a:lnTo>
                  <a:pt x="1456" y="418"/>
                </a:lnTo>
                <a:lnTo>
                  <a:pt x="1460" y="406"/>
                </a:lnTo>
                <a:lnTo>
                  <a:pt x="1468" y="340"/>
                </a:lnTo>
                <a:lnTo>
                  <a:pt x="1470" y="312"/>
                </a:lnTo>
                <a:lnTo>
                  <a:pt x="1472" y="286"/>
                </a:lnTo>
                <a:lnTo>
                  <a:pt x="1472" y="266"/>
                </a:lnTo>
                <a:lnTo>
                  <a:pt x="1470" y="244"/>
                </a:lnTo>
                <a:lnTo>
                  <a:pt x="1466" y="234"/>
                </a:lnTo>
                <a:lnTo>
                  <a:pt x="1464" y="228"/>
                </a:lnTo>
                <a:lnTo>
                  <a:pt x="1456" y="214"/>
                </a:lnTo>
                <a:lnTo>
                  <a:pt x="1448" y="198"/>
                </a:lnTo>
                <a:lnTo>
                  <a:pt x="1440" y="182"/>
                </a:lnTo>
                <a:lnTo>
                  <a:pt x="1430" y="168"/>
                </a:lnTo>
                <a:lnTo>
                  <a:pt x="1416" y="156"/>
                </a:lnTo>
                <a:lnTo>
                  <a:pt x="1402" y="148"/>
                </a:lnTo>
                <a:lnTo>
                  <a:pt x="1366" y="138"/>
                </a:lnTo>
                <a:lnTo>
                  <a:pt x="1356" y="136"/>
                </a:lnTo>
                <a:lnTo>
                  <a:pt x="1344" y="136"/>
                </a:lnTo>
                <a:lnTo>
                  <a:pt x="1332" y="140"/>
                </a:lnTo>
                <a:lnTo>
                  <a:pt x="1320" y="142"/>
                </a:lnTo>
                <a:lnTo>
                  <a:pt x="1316" y="144"/>
                </a:lnTo>
                <a:lnTo>
                  <a:pt x="1266" y="168"/>
                </a:lnTo>
                <a:lnTo>
                  <a:pt x="1246" y="178"/>
                </a:lnTo>
                <a:lnTo>
                  <a:pt x="1236" y="184"/>
                </a:lnTo>
                <a:lnTo>
                  <a:pt x="1226" y="192"/>
                </a:lnTo>
                <a:lnTo>
                  <a:pt x="1218" y="202"/>
                </a:lnTo>
                <a:lnTo>
                  <a:pt x="1214" y="210"/>
                </a:lnTo>
                <a:lnTo>
                  <a:pt x="1196" y="254"/>
                </a:lnTo>
                <a:lnTo>
                  <a:pt x="1188" y="274"/>
                </a:lnTo>
                <a:lnTo>
                  <a:pt x="1180" y="294"/>
                </a:lnTo>
                <a:lnTo>
                  <a:pt x="1176" y="298"/>
                </a:lnTo>
                <a:lnTo>
                  <a:pt x="1174" y="300"/>
                </a:lnTo>
                <a:lnTo>
                  <a:pt x="1168" y="302"/>
                </a:lnTo>
                <a:lnTo>
                  <a:pt x="1166" y="306"/>
                </a:lnTo>
                <a:lnTo>
                  <a:pt x="1164" y="316"/>
                </a:lnTo>
                <a:lnTo>
                  <a:pt x="1160" y="330"/>
                </a:lnTo>
                <a:lnTo>
                  <a:pt x="1156" y="340"/>
                </a:lnTo>
                <a:lnTo>
                  <a:pt x="1156" y="348"/>
                </a:lnTo>
                <a:lnTo>
                  <a:pt x="1156" y="358"/>
                </a:lnTo>
                <a:lnTo>
                  <a:pt x="1160" y="368"/>
                </a:lnTo>
                <a:lnTo>
                  <a:pt x="1164" y="382"/>
                </a:lnTo>
                <a:lnTo>
                  <a:pt x="1166" y="392"/>
                </a:lnTo>
                <a:lnTo>
                  <a:pt x="1168" y="392"/>
                </a:lnTo>
                <a:lnTo>
                  <a:pt x="1170" y="394"/>
                </a:lnTo>
                <a:lnTo>
                  <a:pt x="1180" y="392"/>
                </a:lnTo>
                <a:lnTo>
                  <a:pt x="1186" y="390"/>
                </a:lnTo>
                <a:lnTo>
                  <a:pt x="1190" y="396"/>
                </a:lnTo>
                <a:lnTo>
                  <a:pt x="1192" y="402"/>
                </a:lnTo>
                <a:lnTo>
                  <a:pt x="1194" y="412"/>
                </a:lnTo>
                <a:lnTo>
                  <a:pt x="1194" y="440"/>
                </a:lnTo>
                <a:lnTo>
                  <a:pt x="1192" y="452"/>
                </a:lnTo>
                <a:lnTo>
                  <a:pt x="1190" y="464"/>
                </a:lnTo>
                <a:lnTo>
                  <a:pt x="1186" y="476"/>
                </a:lnTo>
                <a:lnTo>
                  <a:pt x="1180" y="486"/>
                </a:lnTo>
                <a:lnTo>
                  <a:pt x="1152" y="522"/>
                </a:lnTo>
                <a:lnTo>
                  <a:pt x="1136" y="540"/>
                </a:lnTo>
                <a:lnTo>
                  <a:pt x="1114" y="556"/>
                </a:lnTo>
                <a:lnTo>
                  <a:pt x="1106" y="562"/>
                </a:lnTo>
                <a:lnTo>
                  <a:pt x="1082" y="576"/>
                </a:lnTo>
                <a:lnTo>
                  <a:pt x="1056" y="586"/>
                </a:lnTo>
                <a:lnTo>
                  <a:pt x="970" y="616"/>
                </a:lnTo>
                <a:lnTo>
                  <a:pt x="958" y="618"/>
                </a:lnTo>
                <a:lnTo>
                  <a:pt x="944" y="620"/>
                </a:lnTo>
                <a:lnTo>
                  <a:pt x="930" y="618"/>
                </a:lnTo>
                <a:lnTo>
                  <a:pt x="918" y="614"/>
                </a:lnTo>
                <a:lnTo>
                  <a:pt x="844" y="578"/>
                </a:lnTo>
                <a:lnTo>
                  <a:pt x="794" y="554"/>
                </a:lnTo>
                <a:lnTo>
                  <a:pt x="732" y="528"/>
                </a:lnTo>
                <a:lnTo>
                  <a:pt x="708" y="518"/>
                </a:lnTo>
                <a:lnTo>
                  <a:pt x="680" y="510"/>
                </a:lnTo>
                <a:lnTo>
                  <a:pt x="632" y="498"/>
                </a:lnTo>
                <a:lnTo>
                  <a:pt x="622" y="494"/>
                </a:lnTo>
                <a:lnTo>
                  <a:pt x="612" y="488"/>
                </a:lnTo>
                <a:lnTo>
                  <a:pt x="604" y="478"/>
                </a:lnTo>
                <a:lnTo>
                  <a:pt x="598" y="468"/>
                </a:lnTo>
                <a:lnTo>
                  <a:pt x="586" y="450"/>
                </a:lnTo>
                <a:lnTo>
                  <a:pt x="578" y="440"/>
                </a:lnTo>
                <a:lnTo>
                  <a:pt x="574" y="434"/>
                </a:lnTo>
                <a:lnTo>
                  <a:pt x="572" y="426"/>
                </a:lnTo>
                <a:lnTo>
                  <a:pt x="570" y="406"/>
                </a:lnTo>
                <a:lnTo>
                  <a:pt x="570" y="340"/>
                </a:lnTo>
                <a:lnTo>
                  <a:pt x="572" y="328"/>
                </a:lnTo>
                <a:lnTo>
                  <a:pt x="574" y="314"/>
                </a:lnTo>
                <a:lnTo>
                  <a:pt x="578" y="300"/>
                </a:lnTo>
                <a:lnTo>
                  <a:pt x="584" y="288"/>
                </a:lnTo>
                <a:lnTo>
                  <a:pt x="588" y="278"/>
                </a:lnTo>
                <a:lnTo>
                  <a:pt x="594" y="264"/>
                </a:lnTo>
                <a:lnTo>
                  <a:pt x="596" y="252"/>
                </a:lnTo>
                <a:lnTo>
                  <a:pt x="596" y="240"/>
                </a:lnTo>
                <a:lnTo>
                  <a:pt x="596" y="210"/>
                </a:lnTo>
                <a:lnTo>
                  <a:pt x="596" y="206"/>
                </a:lnTo>
                <a:lnTo>
                  <a:pt x="594" y="204"/>
                </a:lnTo>
                <a:lnTo>
                  <a:pt x="584" y="196"/>
                </a:lnTo>
                <a:lnTo>
                  <a:pt x="578" y="192"/>
                </a:lnTo>
                <a:lnTo>
                  <a:pt x="572" y="184"/>
                </a:lnTo>
                <a:lnTo>
                  <a:pt x="568" y="176"/>
                </a:lnTo>
                <a:lnTo>
                  <a:pt x="566" y="164"/>
                </a:lnTo>
                <a:lnTo>
                  <a:pt x="560" y="146"/>
                </a:lnTo>
                <a:lnTo>
                  <a:pt x="548" y="94"/>
                </a:lnTo>
                <a:lnTo>
                  <a:pt x="540" y="72"/>
                </a:lnTo>
                <a:lnTo>
                  <a:pt x="528" y="52"/>
                </a:lnTo>
                <a:lnTo>
                  <a:pt x="516" y="38"/>
                </a:lnTo>
                <a:lnTo>
                  <a:pt x="510" y="34"/>
                </a:lnTo>
                <a:lnTo>
                  <a:pt x="506" y="34"/>
                </a:lnTo>
                <a:lnTo>
                  <a:pt x="498" y="32"/>
                </a:lnTo>
                <a:lnTo>
                  <a:pt x="486" y="28"/>
                </a:lnTo>
                <a:lnTo>
                  <a:pt x="476" y="24"/>
                </a:lnTo>
                <a:lnTo>
                  <a:pt x="466" y="22"/>
                </a:lnTo>
                <a:lnTo>
                  <a:pt x="454" y="20"/>
                </a:lnTo>
                <a:lnTo>
                  <a:pt x="438" y="10"/>
                </a:lnTo>
                <a:lnTo>
                  <a:pt x="428" y="6"/>
                </a:lnTo>
                <a:lnTo>
                  <a:pt x="416" y="2"/>
                </a:lnTo>
                <a:lnTo>
                  <a:pt x="404" y="0"/>
                </a:lnTo>
                <a:lnTo>
                  <a:pt x="390" y="0"/>
                </a:lnTo>
                <a:lnTo>
                  <a:pt x="388" y="0"/>
                </a:lnTo>
                <a:lnTo>
                  <a:pt x="348" y="0"/>
                </a:lnTo>
                <a:lnTo>
                  <a:pt x="332" y="2"/>
                </a:lnTo>
                <a:lnTo>
                  <a:pt x="314" y="10"/>
                </a:lnTo>
                <a:lnTo>
                  <a:pt x="292" y="24"/>
                </a:lnTo>
                <a:lnTo>
                  <a:pt x="272" y="40"/>
                </a:lnTo>
                <a:lnTo>
                  <a:pt x="252" y="58"/>
                </a:lnTo>
                <a:lnTo>
                  <a:pt x="238" y="76"/>
                </a:lnTo>
                <a:lnTo>
                  <a:pt x="228" y="94"/>
                </a:lnTo>
                <a:lnTo>
                  <a:pt x="226" y="100"/>
                </a:lnTo>
                <a:lnTo>
                  <a:pt x="224" y="106"/>
                </a:lnTo>
                <a:lnTo>
                  <a:pt x="222" y="120"/>
                </a:lnTo>
                <a:lnTo>
                  <a:pt x="216" y="136"/>
                </a:lnTo>
                <a:lnTo>
                  <a:pt x="214" y="146"/>
                </a:lnTo>
                <a:lnTo>
                  <a:pt x="212" y="158"/>
                </a:lnTo>
                <a:lnTo>
                  <a:pt x="212" y="170"/>
                </a:lnTo>
                <a:lnTo>
                  <a:pt x="214" y="182"/>
                </a:lnTo>
                <a:lnTo>
                  <a:pt x="220" y="224"/>
                </a:lnTo>
                <a:lnTo>
                  <a:pt x="224" y="250"/>
                </a:lnTo>
                <a:lnTo>
                  <a:pt x="224" y="276"/>
                </a:lnTo>
                <a:lnTo>
                  <a:pt x="226" y="298"/>
                </a:lnTo>
                <a:lnTo>
                  <a:pt x="230" y="318"/>
                </a:lnTo>
                <a:lnTo>
                  <a:pt x="240" y="334"/>
                </a:lnTo>
                <a:lnTo>
                  <a:pt x="250" y="348"/>
                </a:lnTo>
                <a:lnTo>
                  <a:pt x="262" y="362"/>
                </a:lnTo>
                <a:lnTo>
                  <a:pt x="272" y="378"/>
                </a:lnTo>
                <a:lnTo>
                  <a:pt x="282" y="398"/>
                </a:lnTo>
                <a:lnTo>
                  <a:pt x="298" y="418"/>
                </a:lnTo>
                <a:lnTo>
                  <a:pt x="304" y="424"/>
                </a:lnTo>
                <a:lnTo>
                  <a:pt x="310" y="434"/>
                </a:lnTo>
                <a:lnTo>
                  <a:pt x="316" y="446"/>
                </a:lnTo>
                <a:lnTo>
                  <a:pt x="320" y="460"/>
                </a:lnTo>
                <a:lnTo>
                  <a:pt x="322" y="472"/>
                </a:lnTo>
                <a:lnTo>
                  <a:pt x="322" y="502"/>
                </a:lnTo>
                <a:lnTo>
                  <a:pt x="320" y="526"/>
                </a:lnTo>
                <a:lnTo>
                  <a:pt x="318" y="538"/>
                </a:lnTo>
                <a:lnTo>
                  <a:pt x="314" y="548"/>
                </a:lnTo>
                <a:lnTo>
                  <a:pt x="308" y="556"/>
                </a:lnTo>
                <a:lnTo>
                  <a:pt x="300" y="564"/>
                </a:lnTo>
                <a:lnTo>
                  <a:pt x="292" y="570"/>
                </a:lnTo>
                <a:lnTo>
                  <a:pt x="280" y="576"/>
                </a:lnTo>
                <a:lnTo>
                  <a:pt x="220" y="602"/>
                </a:lnTo>
                <a:lnTo>
                  <a:pt x="200" y="610"/>
                </a:lnTo>
                <a:lnTo>
                  <a:pt x="190" y="614"/>
                </a:lnTo>
                <a:lnTo>
                  <a:pt x="178" y="618"/>
                </a:lnTo>
                <a:lnTo>
                  <a:pt x="160" y="628"/>
                </a:lnTo>
                <a:lnTo>
                  <a:pt x="150" y="634"/>
                </a:lnTo>
                <a:lnTo>
                  <a:pt x="128" y="652"/>
                </a:lnTo>
                <a:lnTo>
                  <a:pt x="110" y="670"/>
                </a:lnTo>
                <a:lnTo>
                  <a:pt x="104" y="678"/>
                </a:lnTo>
                <a:lnTo>
                  <a:pt x="86" y="696"/>
                </a:lnTo>
                <a:lnTo>
                  <a:pt x="70" y="710"/>
                </a:lnTo>
                <a:lnTo>
                  <a:pt x="66" y="716"/>
                </a:lnTo>
                <a:lnTo>
                  <a:pt x="60" y="724"/>
                </a:lnTo>
                <a:lnTo>
                  <a:pt x="58" y="732"/>
                </a:lnTo>
                <a:lnTo>
                  <a:pt x="56" y="740"/>
                </a:lnTo>
                <a:lnTo>
                  <a:pt x="56" y="786"/>
                </a:lnTo>
                <a:lnTo>
                  <a:pt x="56" y="802"/>
                </a:lnTo>
                <a:lnTo>
                  <a:pt x="58" y="858"/>
                </a:lnTo>
                <a:lnTo>
                  <a:pt x="70" y="958"/>
                </a:lnTo>
                <a:lnTo>
                  <a:pt x="70" y="986"/>
                </a:lnTo>
                <a:lnTo>
                  <a:pt x="68" y="1014"/>
                </a:lnTo>
                <a:lnTo>
                  <a:pt x="48" y="1116"/>
                </a:lnTo>
                <a:lnTo>
                  <a:pt x="38" y="1170"/>
                </a:lnTo>
                <a:lnTo>
                  <a:pt x="6" y="1344"/>
                </a:lnTo>
                <a:lnTo>
                  <a:pt x="2" y="1370"/>
                </a:lnTo>
                <a:lnTo>
                  <a:pt x="0" y="1396"/>
                </a:lnTo>
                <a:lnTo>
                  <a:pt x="0" y="1444"/>
                </a:lnTo>
                <a:lnTo>
                  <a:pt x="2" y="1470"/>
                </a:lnTo>
                <a:lnTo>
                  <a:pt x="8" y="1494"/>
                </a:lnTo>
                <a:lnTo>
                  <a:pt x="16" y="1518"/>
                </a:lnTo>
                <a:lnTo>
                  <a:pt x="28" y="1542"/>
                </a:lnTo>
                <a:lnTo>
                  <a:pt x="30" y="1542"/>
                </a:lnTo>
                <a:lnTo>
                  <a:pt x="60" y="1588"/>
                </a:lnTo>
                <a:lnTo>
                  <a:pt x="70" y="1602"/>
                </a:lnTo>
                <a:lnTo>
                  <a:pt x="76" y="1614"/>
                </a:lnTo>
                <a:lnTo>
                  <a:pt x="82" y="1626"/>
                </a:lnTo>
                <a:lnTo>
                  <a:pt x="88" y="1640"/>
                </a:lnTo>
                <a:lnTo>
                  <a:pt x="90" y="1652"/>
                </a:lnTo>
                <a:lnTo>
                  <a:pt x="92" y="1660"/>
                </a:lnTo>
                <a:lnTo>
                  <a:pt x="96" y="1688"/>
                </a:lnTo>
                <a:lnTo>
                  <a:pt x="98" y="1714"/>
                </a:lnTo>
                <a:lnTo>
                  <a:pt x="98" y="1804"/>
                </a:lnTo>
                <a:lnTo>
                  <a:pt x="100" y="1830"/>
                </a:lnTo>
                <a:lnTo>
                  <a:pt x="104" y="1858"/>
                </a:lnTo>
                <a:lnTo>
                  <a:pt x="120" y="1924"/>
                </a:lnTo>
                <a:lnTo>
                  <a:pt x="132" y="1978"/>
                </a:lnTo>
                <a:lnTo>
                  <a:pt x="136" y="1996"/>
                </a:lnTo>
                <a:lnTo>
                  <a:pt x="138" y="2022"/>
                </a:lnTo>
                <a:lnTo>
                  <a:pt x="140" y="2050"/>
                </a:lnTo>
                <a:lnTo>
                  <a:pt x="140" y="2056"/>
                </a:lnTo>
                <a:lnTo>
                  <a:pt x="140" y="2102"/>
                </a:lnTo>
                <a:lnTo>
                  <a:pt x="142" y="2124"/>
                </a:lnTo>
                <a:lnTo>
                  <a:pt x="144" y="2148"/>
                </a:lnTo>
                <a:lnTo>
                  <a:pt x="164" y="2262"/>
                </a:lnTo>
                <a:lnTo>
                  <a:pt x="172" y="2318"/>
                </a:lnTo>
                <a:lnTo>
                  <a:pt x="180" y="2418"/>
                </a:lnTo>
                <a:lnTo>
                  <a:pt x="184" y="2472"/>
                </a:lnTo>
                <a:lnTo>
                  <a:pt x="194" y="2660"/>
                </a:lnTo>
                <a:lnTo>
                  <a:pt x="198" y="2686"/>
                </a:lnTo>
                <a:lnTo>
                  <a:pt x="206" y="2712"/>
                </a:lnTo>
                <a:lnTo>
                  <a:pt x="254" y="2842"/>
                </a:lnTo>
                <a:lnTo>
                  <a:pt x="256" y="2854"/>
                </a:lnTo>
                <a:lnTo>
                  <a:pt x="258" y="2868"/>
                </a:lnTo>
                <a:lnTo>
                  <a:pt x="256" y="2880"/>
                </a:lnTo>
                <a:lnTo>
                  <a:pt x="254" y="2892"/>
                </a:lnTo>
                <a:lnTo>
                  <a:pt x="234" y="2938"/>
                </a:lnTo>
                <a:lnTo>
                  <a:pt x="222" y="2962"/>
                </a:lnTo>
                <a:lnTo>
                  <a:pt x="206" y="2984"/>
                </a:lnTo>
                <a:lnTo>
                  <a:pt x="200" y="2990"/>
                </a:lnTo>
                <a:lnTo>
                  <a:pt x="194" y="3000"/>
                </a:lnTo>
                <a:lnTo>
                  <a:pt x="188" y="3014"/>
                </a:lnTo>
                <a:lnTo>
                  <a:pt x="184" y="3026"/>
                </a:lnTo>
                <a:lnTo>
                  <a:pt x="182" y="3038"/>
                </a:lnTo>
                <a:lnTo>
                  <a:pt x="182" y="3094"/>
                </a:lnTo>
                <a:lnTo>
                  <a:pt x="184" y="3104"/>
                </a:lnTo>
                <a:lnTo>
                  <a:pt x="190" y="3114"/>
                </a:lnTo>
                <a:lnTo>
                  <a:pt x="200" y="3120"/>
                </a:lnTo>
                <a:lnTo>
                  <a:pt x="210" y="3124"/>
                </a:lnTo>
                <a:lnTo>
                  <a:pt x="252" y="3128"/>
                </a:lnTo>
                <a:lnTo>
                  <a:pt x="264" y="3128"/>
                </a:lnTo>
                <a:lnTo>
                  <a:pt x="278" y="3126"/>
                </a:lnTo>
                <a:lnTo>
                  <a:pt x="290" y="3120"/>
                </a:lnTo>
                <a:lnTo>
                  <a:pt x="300" y="3114"/>
                </a:lnTo>
                <a:lnTo>
                  <a:pt x="314" y="3102"/>
                </a:lnTo>
                <a:lnTo>
                  <a:pt x="348" y="3072"/>
                </a:lnTo>
                <a:lnTo>
                  <a:pt x="360" y="3060"/>
                </a:lnTo>
                <a:lnTo>
                  <a:pt x="368" y="3048"/>
                </a:lnTo>
                <a:lnTo>
                  <a:pt x="372" y="3042"/>
                </a:lnTo>
                <a:lnTo>
                  <a:pt x="374" y="3034"/>
                </a:lnTo>
                <a:lnTo>
                  <a:pt x="376" y="3018"/>
                </a:lnTo>
                <a:lnTo>
                  <a:pt x="378" y="3000"/>
                </a:lnTo>
                <a:lnTo>
                  <a:pt x="384" y="2982"/>
                </a:lnTo>
                <a:lnTo>
                  <a:pt x="390" y="2968"/>
                </a:lnTo>
                <a:lnTo>
                  <a:pt x="394" y="2964"/>
                </a:lnTo>
                <a:lnTo>
                  <a:pt x="396" y="2964"/>
                </a:lnTo>
                <a:lnTo>
                  <a:pt x="406" y="2958"/>
                </a:lnTo>
                <a:lnTo>
                  <a:pt x="424" y="2946"/>
                </a:lnTo>
                <a:lnTo>
                  <a:pt x="424" y="2944"/>
                </a:lnTo>
                <a:lnTo>
                  <a:pt x="432" y="2936"/>
                </a:lnTo>
                <a:lnTo>
                  <a:pt x="440" y="2926"/>
                </a:lnTo>
                <a:lnTo>
                  <a:pt x="448" y="2914"/>
                </a:lnTo>
                <a:lnTo>
                  <a:pt x="452" y="2902"/>
                </a:lnTo>
                <a:lnTo>
                  <a:pt x="454" y="2892"/>
                </a:lnTo>
                <a:lnTo>
                  <a:pt x="452" y="2878"/>
                </a:lnTo>
                <a:lnTo>
                  <a:pt x="450" y="2866"/>
                </a:lnTo>
                <a:lnTo>
                  <a:pt x="446" y="2854"/>
                </a:lnTo>
                <a:lnTo>
                  <a:pt x="442" y="2844"/>
                </a:lnTo>
                <a:lnTo>
                  <a:pt x="438" y="2832"/>
                </a:lnTo>
                <a:lnTo>
                  <a:pt x="434" y="2818"/>
                </a:lnTo>
                <a:lnTo>
                  <a:pt x="432" y="2804"/>
                </a:lnTo>
                <a:lnTo>
                  <a:pt x="432" y="2792"/>
                </a:lnTo>
                <a:lnTo>
                  <a:pt x="432" y="2762"/>
                </a:lnTo>
                <a:lnTo>
                  <a:pt x="432" y="2708"/>
                </a:lnTo>
                <a:lnTo>
                  <a:pt x="432" y="2700"/>
                </a:lnTo>
                <a:lnTo>
                  <a:pt x="430" y="2674"/>
                </a:lnTo>
                <a:lnTo>
                  <a:pt x="424" y="2646"/>
                </a:lnTo>
                <a:lnTo>
                  <a:pt x="410" y="2592"/>
                </a:lnTo>
                <a:lnTo>
                  <a:pt x="404" y="2566"/>
                </a:lnTo>
                <a:lnTo>
                  <a:pt x="402" y="2538"/>
                </a:lnTo>
                <a:lnTo>
                  <a:pt x="402" y="2472"/>
                </a:lnTo>
                <a:lnTo>
                  <a:pt x="400" y="2418"/>
                </a:lnTo>
                <a:lnTo>
                  <a:pt x="392" y="2304"/>
                </a:lnTo>
                <a:lnTo>
                  <a:pt x="392" y="2276"/>
                </a:lnTo>
                <a:lnTo>
                  <a:pt x="396" y="2250"/>
                </a:lnTo>
                <a:lnTo>
                  <a:pt x="412" y="2160"/>
                </a:lnTo>
                <a:lnTo>
                  <a:pt x="416" y="2132"/>
                </a:lnTo>
                <a:lnTo>
                  <a:pt x="418" y="2104"/>
                </a:lnTo>
                <a:lnTo>
                  <a:pt x="418" y="2038"/>
                </a:lnTo>
                <a:lnTo>
                  <a:pt x="418" y="1984"/>
                </a:lnTo>
                <a:lnTo>
                  <a:pt x="418" y="1980"/>
                </a:lnTo>
                <a:lnTo>
                  <a:pt x="420" y="1956"/>
                </a:lnTo>
                <a:lnTo>
                  <a:pt x="422" y="1946"/>
                </a:lnTo>
                <a:lnTo>
                  <a:pt x="426" y="1938"/>
                </a:lnTo>
                <a:lnTo>
                  <a:pt x="428" y="1936"/>
                </a:lnTo>
                <a:lnTo>
                  <a:pt x="432" y="1934"/>
                </a:lnTo>
                <a:lnTo>
                  <a:pt x="436" y="1936"/>
                </a:lnTo>
                <a:lnTo>
                  <a:pt x="438" y="1938"/>
                </a:lnTo>
                <a:lnTo>
                  <a:pt x="446" y="1956"/>
                </a:lnTo>
                <a:lnTo>
                  <a:pt x="454" y="1978"/>
                </a:lnTo>
                <a:lnTo>
                  <a:pt x="492" y="2094"/>
                </a:lnTo>
                <a:lnTo>
                  <a:pt x="506" y="2144"/>
                </a:lnTo>
                <a:lnTo>
                  <a:pt x="512" y="2166"/>
                </a:lnTo>
                <a:lnTo>
                  <a:pt x="514" y="2186"/>
                </a:lnTo>
                <a:lnTo>
                  <a:pt x="514" y="2216"/>
                </a:lnTo>
                <a:lnTo>
                  <a:pt x="514" y="2256"/>
                </a:lnTo>
                <a:lnTo>
                  <a:pt x="514" y="2564"/>
                </a:lnTo>
                <a:lnTo>
                  <a:pt x="514" y="2618"/>
                </a:lnTo>
                <a:lnTo>
                  <a:pt x="514" y="2730"/>
                </a:lnTo>
                <a:lnTo>
                  <a:pt x="514" y="2758"/>
                </a:lnTo>
                <a:lnTo>
                  <a:pt x="518" y="2784"/>
                </a:lnTo>
                <a:lnTo>
                  <a:pt x="538" y="2924"/>
                </a:lnTo>
                <a:lnTo>
                  <a:pt x="546" y="2978"/>
                </a:lnTo>
                <a:lnTo>
                  <a:pt x="550" y="3010"/>
                </a:lnTo>
                <a:lnTo>
                  <a:pt x="556" y="3032"/>
                </a:lnTo>
                <a:lnTo>
                  <a:pt x="562" y="3048"/>
                </a:lnTo>
                <a:lnTo>
                  <a:pt x="578" y="3072"/>
                </a:lnTo>
                <a:lnTo>
                  <a:pt x="580" y="3076"/>
                </a:lnTo>
                <a:lnTo>
                  <a:pt x="580" y="3082"/>
                </a:lnTo>
                <a:lnTo>
                  <a:pt x="580" y="3086"/>
                </a:lnTo>
                <a:lnTo>
                  <a:pt x="578" y="3090"/>
                </a:lnTo>
                <a:lnTo>
                  <a:pt x="574" y="3094"/>
                </a:lnTo>
                <a:lnTo>
                  <a:pt x="572" y="3100"/>
                </a:lnTo>
                <a:lnTo>
                  <a:pt x="570" y="3114"/>
                </a:lnTo>
                <a:lnTo>
                  <a:pt x="570" y="3144"/>
                </a:lnTo>
                <a:lnTo>
                  <a:pt x="570" y="3168"/>
                </a:lnTo>
                <a:lnTo>
                  <a:pt x="572" y="3174"/>
                </a:lnTo>
                <a:lnTo>
                  <a:pt x="576" y="3182"/>
                </a:lnTo>
                <a:lnTo>
                  <a:pt x="588" y="3202"/>
                </a:lnTo>
                <a:lnTo>
                  <a:pt x="592" y="3206"/>
                </a:lnTo>
                <a:lnTo>
                  <a:pt x="600" y="3214"/>
                </a:lnTo>
                <a:lnTo>
                  <a:pt x="610" y="3222"/>
                </a:lnTo>
                <a:lnTo>
                  <a:pt x="618" y="3226"/>
                </a:lnTo>
                <a:lnTo>
                  <a:pt x="624" y="3228"/>
                </a:lnTo>
                <a:lnTo>
                  <a:pt x="630" y="3230"/>
                </a:lnTo>
                <a:lnTo>
                  <a:pt x="634" y="3236"/>
                </a:lnTo>
                <a:lnTo>
                  <a:pt x="638" y="3244"/>
                </a:lnTo>
                <a:lnTo>
                  <a:pt x="638" y="3256"/>
                </a:lnTo>
                <a:lnTo>
                  <a:pt x="638" y="3262"/>
                </a:lnTo>
                <a:lnTo>
                  <a:pt x="638" y="3308"/>
                </a:lnTo>
                <a:lnTo>
                  <a:pt x="640" y="3324"/>
                </a:lnTo>
                <a:lnTo>
                  <a:pt x="646" y="3338"/>
                </a:lnTo>
                <a:lnTo>
                  <a:pt x="666" y="3368"/>
                </a:lnTo>
                <a:lnTo>
                  <a:pt x="682" y="3386"/>
                </a:lnTo>
                <a:lnTo>
                  <a:pt x="702" y="3404"/>
                </a:lnTo>
                <a:lnTo>
                  <a:pt x="716" y="3416"/>
                </a:lnTo>
                <a:lnTo>
                  <a:pt x="742" y="3440"/>
                </a:lnTo>
                <a:lnTo>
                  <a:pt x="748" y="3442"/>
                </a:lnTo>
                <a:lnTo>
                  <a:pt x="756" y="3442"/>
                </a:lnTo>
                <a:lnTo>
                  <a:pt x="776" y="3442"/>
                </a:lnTo>
                <a:lnTo>
                  <a:pt x="848" y="3436"/>
                </a:lnTo>
                <a:lnTo>
                  <a:pt x="858" y="3434"/>
                </a:lnTo>
                <a:lnTo>
                  <a:pt x="868" y="3426"/>
                </a:lnTo>
                <a:lnTo>
                  <a:pt x="874" y="3418"/>
                </a:lnTo>
                <a:lnTo>
                  <a:pt x="876" y="3406"/>
                </a:lnTo>
                <a:lnTo>
                  <a:pt x="876" y="3354"/>
                </a:lnTo>
                <a:lnTo>
                  <a:pt x="874" y="3342"/>
                </a:lnTo>
                <a:lnTo>
                  <a:pt x="872" y="3328"/>
                </a:lnTo>
                <a:lnTo>
                  <a:pt x="866" y="3318"/>
                </a:lnTo>
                <a:lnTo>
                  <a:pt x="862" y="3308"/>
                </a:lnTo>
                <a:lnTo>
                  <a:pt x="848" y="3288"/>
                </a:lnTo>
                <a:lnTo>
                  <a:pt x="836" y="3264"/>
                </a:lnTo>
                <a:lnTo>
                  <a:pt x="802" y="3194"/>
                </a:lnTo>
                <a:lnTo>
                  <a:pt x="792" y="3170"/>
                </a:lnTo>
                <a:lnTo>
                  <a:pt x="784" y="3144"/>
                </a:lnTo>
                <a:lnTo>
                  <a:pt x="782" y="3134"/>
                </a:lnTo>
                <a:lnTo>
                  <a:pt x="782" y="3120"/>
                </a:lnTo>
                <a:lnTo>
                  <a:pt x="782" y="3106"/>
                </a:lnTo>
                <a:lnTo>
                  <a:pt x="782" y="3094"/>
                </a:lnTo>
                <a:lnTo>
                  <a:pt x="788" y="3064"/>
                </a:lnTo>
                <a:lnTo>
                  <a:pt x="790" y="3036"/>
                </a:lnTo>
                <a:lnTo>
                  <a:pt x="792" y="3010"/>
                </a:lnTo>
                <a:lnTo>
                  <a:pt x="792" y="2932"/>
                </a:lnTo>
                <a:lnTo>
                  <a:pt x="792" y="2904"/>
                </a:lnTo>
                <a:lnTo>
                  <a:pt x="796" y="2876"/>
                </a:lnTo>
                <a:lnTo>
                  <a:pt x="816" y="2750"/>
                </a:lnTo>
                <a:lnTo>
                  <a:pt x="818" y="2724"/>
                </a:lnTo>
                <a:lnTo>
                  <a:pt x="816" y="2696"/>
                </a:lnTo>
                <a:lnTo>
                  <a:pt x="796" y="2594"/>
                </a:lnTo>
                <a:lnTo>
                  <a:pt x="792" y="2566"/>
                </a:lnTo>
                <a:lnTo>
                  <a:pt x="792" y="2538"/>
                </a:lnTo>
                <a:lnTo>
                  <a:pt x="792" y="2462"/>
                </a:lnTo>
                <a:lnTo>
                  <a:pt x="790" y="2406"/>
                </a:lnTo>
                <a:lnTo>
                  <a:pt x="780" y="2280"/>
                </a:lnTo>
                <a:lnTo>
                  <a:pt x="780" y="2254"/>
                </a:lnTo>
                <a:lnTo>
                  <a:pt x="782" y="2226"/>
                </a:lnTo>
                <a:lnTo>
                  <a:pt x="788" y="2196"/>
                </a:lnTo>
                <a:lnTo>
                  <a:pt x="794" y="2142"/>
                </a:lnTo>
                <a:lnTo>
                  <a:pt x="800" y="2086"/>
                </a:lnTo>
                <a:lnTo>
                  <a:pt x="804" y="2060"/>
                </a:lnTo>
                <a:lnTo>
                  <a:pt x="804" y="2032"/>
                </a:lnTo>
                <a:lnTo>
                  <a:pt x="804" y="1894"/>
                </a:lnTo>
                <a:lnTo>
                  <a:pt x="804" y="1868"/>
                </a:lnTo>
                <a:lnTo>
                  <a:pt x="800" y="1840"/>
                </a:lnTo>
                <a:lnTo>
                  <a:pt x="794" y="1784"/>
                </a:lnTo>
                <a:lnTo>
                  <a:pt x="790" y="1758"/>
                </a:lnTo>
                <a:lnTo>
                  <a:pt x="782" y="1732"/>
                </a:lnTo>
                <a:lnTo>
                  <a:pt x="772" y="1700"/>
                </a:lnTo>
                <a:lnTo>
                  <a:pt x="764" y="1678"/>
                </a:lnTo>
                <a:lnTo>
                  <a:pt x="762" y="1662"/>
                </a:lnTo>
                <a:lnTo>
                  <a:pt x="764" y="1656"/>
                </a:lnTo>
                <a:lnTo>
                  <a:pt x="766" y="1650"/>
                </a:lnTo>
                <a:lnTo>
                  <a:pt x="772" y="1644"/>
                </a:lnTo>
                <a:lnTo>
                  <a:pt x="776" y="1638"/>
                </a:lnTo>
                <a:lnTo>
                  <a:pt x="784" y="1634"/>
                </a:lnTo>
                <a:lnTo>
                  <a:pt x="792" y="1630"/>
                </a:lnTo>
                <a:lnTo>
                  <a:pt x="800" y="1630"/>
                </a:lnTo>
                <a:lnTo>
                  <a:pt x="806" y="1632"/>
                </a:lnTo>
                <a:lnTo>
                  <a:pt x="812" y="1634"/>
                </a:lnTo>
                <a:lnTo>
                  <a:pt x="818" y="1634"/>
                </a:lnTo>
                <a:lnTo>
                  <a:pt x="822" y="1630"/>
                </a:lnTo>
                <a:lnTo>
                  <a:pt x="826" y="1626"/>
                </a:lnTo>
                <a:lnTo>
                  <a:pt x="836" y="1614"/>
                </a:lnTo>
                <a:lnTo>
                  <a:pt x="846" y="1602"/>
                </a:lnTo>
                <a:lnTo>
                  <a:pt x="852" y="1598"/>
                </a:lnTo>
                <a:lnTo>
                  <a:pt x="860" y="1600"/>
                </a:lnTo>
                <a:lnTo>
                  <a:pt x="868" y="1604"/>
                </a:lnTo>
                <a:lnTo>
                  <a:pt x="874" y="1612"/>
                </a:lnTo>
                <a:lnTo>
                  <a:pt x="902" y="1650"/>
                </a:lnTo>
                <a:lnTo>
                  <a:pt x="914" y="1666"/>
                </a:lnTo>
                <a:lnTo>
                  <a:pt x="920" y="1672"/>
                </a:lnTo>
                <a:lnTo>
                  <a:pt x="924" y="1674"/>
                </a:lnTo>
                <a:lnTo>
                  <a:pt x="926" y="1674"/>
                </a:lnTo>
                <a:lnTo>
                  <a:pt x="930" y="1678"/>
                </a:lnTo>
                <a:lnTo>
                  <a:pt x="936" y="1692"/>
                </a:lnTo>
                <a:lnTo>
                  <a:pt x="942" y="1712"/>
                </a:lnTo>
                <a:lnTo>
                  <a:pt x="944" y="1738"/>
                </a:lnTo>
                <a:lnTo>
                  <a:pt x="944" y="1744"/>
                </a:lnTo>
                <a:lnTo>
                  <a:pt x="944" y="1798"/>
                </a:lnTo>
                <a:lnTo>
                  <a:pt x="944" y="2068"/>
                </a:lnTo>
                <a:lnTo>
                  <a:pt x="940" y="2096"/>
                </a:lnTo>
                <a:lnTo>
                  <a:pt x="936" y="2122"/>
                </a:lnTo>
                <a:lnTo>
                  <a:pt x="926" y="2154"/>
                </a:lnTo>
                <a:lnTo>
                  <a:pt x="918" y="2180"/>
                </a:lnTo>
                <a:lnTo>
                  <a:pt x="912" y="2208"/>
                </a:lnTo>
                <a:lnTo>
                  <a:pt x="906" y="2238"/>
                </a:lnTo>
                <a:lnTo>
                  <a:pt x="902" y="2264"/>
                </a:lnTo>
                <a:lnTo>
                  <a:pt x="902" y="2292"/>
                </a:lnTo>
                <a:lnTo>
                  <a:pt x="902" y="2358"/>
                </a:lnTo>
                <a:lnTo>
                  <a:pt x="898" y="2386"/>
                </a:lnTo>
                <a:lnTo>
                  <a:pt x="892" y="2412"/>
                </a:lnTo>
                <a:lnTo>
                  <a:pt x="868" y="2480"/>
                </a:lnTo>
                <a:lnTo>
                  <a:pt x="862" y="2506"/>
                </a:lnTo>
                <a:lnTo>
                  <a:pt x="856" y="2534"/>
                </a:lnTo>
                <a:lnTo>
                  <a:pt x="850" y="2576"/>
                </a:lnTo>
                <a:lnTo>
                  <a:pt x="844" y="2630"/>
                </a:lnTo>
                <a:lnTo>
                  <a:pt x="836" y="2720"/>
                </a:lnTo>
                <a:lnTo>
                  <a:pt x="836" y="2732"/>
                </a:lnTo>
                <a:lnTo>
                  <a:pt x="838" y="2744"/>
                </a:lnTo>
                <a:lnTo>
                  <a:pt x="842" y="2756"/>
                </a:lnTo>
                <a:lnTo>
                  <a:pt x="846" y="2764"/>
                </a:lnTo>
                <a:lnTo>
                  <a:pt x="850" y="2774"/>
                </a:lnTo>
                <a:lnTo>
                  <a:pt x="852" y="2782"/>
                </a:lnTo>
                <a:lnTo>
                  <a:pt x="850" y="2792"/>
                </a:lnTo>
                <a:lnTo>
                  <a:pt x="846" y="2802"/>
                </a:lnTo>
                <a:lnTo>
                  <a:pt x="842" y="2810"/>
                </a:lnTo>
                <a:lnTo>
                  <a:pt x="842" y="2820"/>
                </a:lnTo>
                <a:lnTo>
                  <a:pt x="846" y="2830"/>
                </a:lnTo>
                <a:lnTo>
                  <a:pt x="852" y="2840"/>
                </a:lnTo>
                <a:lnTo>
                  <a:pt x="858" y="2846"/>
                </a:lnTo>
                <a:lnTo>
                  <a:pt x="864" y="2856"/>
                </a:lnTo>
                <a:lnTo>
                  <a:pt x="870" y="2870"/>
                </a:lnTo>
                <a:lnTo>
                  <a:pt x="874" y="2882"/>
                </a:lnTo>
                <a:lnTo>
                  <a:pt x="876" y="2894"/>
                </a:lnTo>
                <a:lnTo>
                  <a:pt x="876" y="3020"/>
                </a:lnTo>
                <a:lnTo>
                  <a:pt x="876" y="3054"/>
                </a:lnTo>
                <a:lnTo>
                  <a:pt x="878" y="3062"/>
                </a:lnTo>
                <a:lnTo>
                  <a:pt x="882" y="3072"/>
                </a:lnTo>
                <a:lnTo>
                  <a:pt x="892" y="3086"/>
                </a:lnTo>
                <a:lnTo>
                  <a:pt x="910" y="3102"/>
                </a:lnTo>
                <a:lnTo>
                  <a:pt x="920" y="3110"/>
                </a:lnTo>
                <a:lnTo>
                  <a:pt x="928" y="3116"/>
                </a:lnTo>
                <a:lnTo>
                  <a:pt x="936" y="3120"/>
                </a:lnTo>
                <a:lnTo>
                  <a:pt x="944" y="3120"/>
                </a:lnTo>
                <a:lnTo>
                  <a:pt x="978" y="3120"/>
                </a:lnTo>
                <a:lnTo>
                  <a:pt x="1014" y="3120"/>
                </a:lnTo>
                <a:lnTo>
                  <a:pt x="1028" y="3120"/>
                </a:lnTo>
                <a:lnTo>
                  <a:pt x="1040" y="3116"/>
                </a:lnTo>
                <a:lnTo>
                  <a:pt x="1046" y="3110"/>
                </a:lnTo>
                <a:lnTo>
                  <a:pt x="1052" y="3104"/>
                </a:lnTo>
                <a:lnTo>
                  <a:pt x="1058" y="3094"/>
                </a:lnTo>
                <a:lnTo>
                  <a:pt x="1062" y="3084"/>
                </a:lnTo>
                <a:lnTo>
                  <a:pt x="1068" y="3060"/>
                </a:lnTo>
                <a:lnTo>
                  <a:pt x="1070" y="3036"/>
                </a:lnTo>
                <a:lnTo>
                  <a:pt x="1068" y="3024"/>
                </a:lnTo>
                <a:lnTo>
                  <a:pt x="1066" y="3012"/>
                </a:lnTo>
                <a:lnTo>
                  <a:pt x="1062" y="2998"/>
                </a:lnTo>
                <a:lnTo>
                  <a:pt x="1058" y="2986"/>
                </a:lnTo>
                <a:lnTo>
                  <a:pt x="1052" y="2976"/>
                </a:lnTo>
                <a:lnTo>
                  <a:pt x="1028" y="2926"/>
                </a:lnTo>
                <a:lnTo>
                  <a:pt x="1024" y="2914"/>
                </a:lnTo>
                <a:lnTo>
                  <a:pt x="1020" y="2904"/>
                </a:lnTo>
                <a:lnTo>
                  <a:pt x="1020" y="2890"/>
                </a:lnTo>
                <a:lnTo>
                  <a:pt x="1022" y="2878"/>
                </a:lnTo>
                <a:lnTo>
                  <a:pt x="1028" y="2868"/>
                </a:lnTo>
                <a:lnTo>
                  <a:pt x="1038" y="2854"/>
                </a:lnTo>
                <a:lnTo>
                  <a:pt x="1044" y="2842"/>
                </a:lnTo>
                <a:lnTo>
                  <a:pt x="1050" y="2830"/>
                </a:lnTo>
                <a:lnTo>
                  <a:pt x="1052" y="2818"/>
                </a:lnTo>
                <a:lnTo>
                  <a:pt x="1054" y="2806"/>
                </a:lnTo>
                <a:lnTo>
                  <a:pt x="1054" y="2796"/>
                </a:lnTo>
                <a:lnTo>
                  <a:pt x="1058" y="2782"/>
                </a:lnTo>
                <a:lnTo>
                  <a:pt x="1062" y="2770"/>
                </a:lnTo>
                <a:lnTo>
                  <a:pt x="1066" y="2758"/>
                </a:lnTo>
                <a:lnTo>
                  <a:pt x="1084" y="2724"/>
                </a:lnTo>
                <a:lnTo>
                  <a:pt x="1094" y="2698"/>
                </a:lnTo>
                <a:lnTo>
                  <a:pt x="1102" y="2672"/>
                </a:lnTo>
                <a:lnTo>
                  <a:pt x="1144" y="2520"/>
                </a:lnTo>
                <a:lnTo>
                  <a:pt x="1156" y="2466"/>
                </a:lnTo>
                <a:lnTo>
                  <a:pt x="1188" y="2266"/>
                </a:lnTo>
                <a:lnTo>
                  <a:pt x="1200" y="2214"/>
                </a:lnTo>
                <a:lnTo>
                  <a:pt x="1228" y="2110"/>
                </a:lnTo>
                <a:lnTo>
                  <a:pt x="1240" y="2058"/>
                </a:lnTo>
                <a:lnTo>
                  <a:pt x="1256" y="1990"/>
                </a:lnTo>
                <a:lnTo>
                  <a:pt x="1258" y="1980"/>
                </a:lnTo>
                <a:lnTo>
                  <a:pt x="1262" y="1974"/>
                </a:lnTo>
                <a:lnTo>
                  <a:pt x="1266" y="1972"/>
                </a:lnTo>
                <a:lnTo>
                  <a:pt x="1268" y="1976"/>
                </a:lnTo>
                <a:lnTo>
                  <a:pt x="1272" y="1982"/>
                </a:lnTo>
                <a:lnTo>
                  <a:pt x="1274" y="1992"/>
                </a:lnTo>
                <a:lnTo>
                  <a:pt x="1276" y="2016"/>
                </a:lnTo>
                <a:lnTo>
                  <a:pt x="1276" y="2080"/>
                </a:lnTo>
                <a:lnTo>
                  <a:pt x="1278" y="2106"/>
                </a:lnTo>
                <a:lnTo>
                  <a:pt x="1282" y="2134"/>
                </a:lnTo>
                <a:lnTo>
                  <a:pt x="1284" y="2142"/>
                </a:lnTo>
                <a:lnTo>
                  <a:pt x="1286" y="2154"/>
                </a:lnTo>
                <a:lnTo>
                  <a:pt x="1286" y="2168"/>
                </a:lnTo>
                <a:lnTo>
                  <a:pt x="1282" y="2182"/>
                </a:lnTo>
                <a:lnTo>
                  <a:pt x="1278" y="2194"/>
                </a:lnTo>
                <a:lnTo>
                  <a:pt x="1274" y="2204"/>
                </a:lnTo>
                <a:lnTo>
                  <a:pt x="1268" y="2216"/>
                </a:lnTo>
                <a:lnTo>
                  <a:pt x="1264" y="2228"/>
                </a:lnTo>
                <a:lnTo>
                  <a:pt x="1262" y="2242"/>
                </a:lnTo>
                <a:lnTo>
                  <a:pt x="1262" y="2256"/>
                </a:lnTo>
                <a:lnTo>
                  <a:pt x="1262" y="2262"/>
                </a:lnTo>
                <a:lnTo>
                  <a:pt x="1262" y="2318"/>
                </a:lnTo>
                <a:lnTo>
                  <a:pt x="1262" y="2358"/>
                </a:lnTo>
                <a:lnTo>
                  <a:pt x="1258" y="2414"/>
                </a:lnTo>
                <a:lnTo>
                  <a:pt x="1252" y="2480"/>
                </a:lnTo>
                <a:lnTo>
                  <a:pt x="1246" y="2534"/>
                </a:lnTo>
                <a:lnTo>
                  <a:pt x="1238" y="2598"/>
                </a:lnTo>
                <a:lnTo>
                  <a:pt x="1234" y="2620"/>
                </a:lnTo>
                <a:lnTo>
                  <a:pt x="1228" y="2638"/>
                </a:lnTo>
                <a:lnTo>
                  <a:pt x="1222" y="2654"/>
                </a:lnTo>
                <a:lnTo>
                  <a:pt x="1214" y="2678"/>
                </a:lnTo>
                <a:lnTo>
                  <a:pt x="1212" y="2682"/>
                </a:lnTo>
                <a:lnTo>
                  <a:pt x="1212" y="2696"/>
                </a:lnTo>
                <a:lnTo>
                  <a:pt x="1212" y="2708"/>
                </a:lnTo>
                <a:lnTo>
                  <a:pt x="1216" y="2722"/>
                </a:lnTo>
                <a:lnTo>
                  <a:pt x="1220" y="2734"/>
                </a:lnTo>
                <a:lnTo>
                  <a:pt x="1226" y="2746"/>
                </a:lnTo>
                <a:lnTo>
                  <a:pt x="1230" y="2758"/>
                </a:lnTo>
                <a:lnTo>
                  <a:pt x="1234" y="2772"/>
                </a:lnTo>
                <a:lnTo>
                  <a:pt x="1234" y="2786"/>
                </a:lnTo>
                <a:lnTo>
                  <a:pt x="1234" y="2816"/>
                </a:lnTo>
                <a:lnTo>
                  <a:pt x="1236" y="2826"/>
                </a:lnTo>
                <a:lnTo>
                  <a:pt x="1242" y="2838"/>
                </a:lnTo>
                <a:lnTo>
                  <a:pt x="1250" y="2848"/>
                </a:lnTo>
                <a:lnTo>
                  <a:pt x="1260" y="2854"/>
                </a:lnTo>
                <a:lnTo>
                  <a:pt x="1266" y="2856"/>
                </a:lnTo>
                <a:lnTo>
                  <a:pt x="1284" y="2864"/>
                </a:lnTo>
                <a:lnTo>
                  <a:pt x="1296" y="2868"/>
                </a:lnTo>
                <a:lnTo>
                  <a:pt x="1300" y="2870"/>
                </a:lnTo>
                <a:lnTo>
                  <a:pt x="1306" y="2874"/>
                </a:lnTo>
                <a:lnTo>
                  <a:pt x="1318" y="2890"/>
                </a:lnTo>
                <a:lnTo>
                  <a:pt x="1330" y="2904"/>
                </a:lnTo>
                <a:lnTo>
                  <a:pt x="1344" y="2924"/>
                </a:lnTo>
                <a:lnTo>
                  <a:pt x="1360" y="2940"/>
                </a:lnTo>
                <a:lnTo>
                  <a:pt x="1374" y="2950"/>
                </a:lnTo>
                <a:lnTo>
                  <a:pt x="1388" y="2958"/>
                </a:lnTo>
                <a:lnTo>
                  <a:pt x="1414" y="2970"/>
                </a:lnTo>
                <a:lnTo>
                  <a:pt x="1456" y="2982"/>
                </a:lnTo>
                <a:lnTo>
                  <a:pt x="1458" y="2982"/>
                </a:lnTo>
                <a:lnTo>
                  <a:pt x="1470" y="2984"/>
                </a:lnTo>
                <a:lnTo>
                  <a:pt x="1484" y="2984"/>
                </a:lnTo>
                <a:lnTo>
                  <a:pt x="1498" y="2982"/>
                </a:lnTo>
                <a:lnTo>
                  <a:pt x="1510" y="2980"/>
                </a:lnTo>
                <a:lnTo>
                  <a:pt x="1526" y="2972"/>
                </a:lnTo>
                <a:lnTo>
                  <a:pt x="1538" y="2968"/>
                </a:lnTo>
                <a:lnTo>
                  <a:pt x="1548" y="2960"/>
                </a:lnTo>
                <a:lnTo>
                  <a:pt x="1556" y="2952"/>
                </a:lnTo>
                <a:lnTo>
                  <a:pt x="1560" y="2946"/>
                </a:lnTo>
                <a:lnTo>
                  <a:pt x="1562" y="2936"/>
                </a:lnTo>
                <a:lnTo>
                  <a:pt x="1560" y="2926"/>
                </a:lnTo>
                <a:lnTo>
                  <a:pt x="1556" y="2918"/>
                </a:lnTo>
                <a:lnTo>
                  <a:pt x="1548" y="2908"/>
                </a:lnTo>
                <a:lnTo>
                  <a:pt x="1534" y="2896"/>
                </a:lnTo>
                <a:lnTo>
                  <a:pt x="1494" y="2860"/>
                </a:lnTo>
                <a:lnTo>
                  <a:pt x="1474" y="2840"/>
                </a:lnTo>
                <a:lnTo>
                  <a:pt x="1458" y="2818"/>
                </a:lnTo>
                <a:lnTo>
                  <a:pt x="1442" y="2796"/>
                </a:lnTo>
                <a:lnTo>
                  <a:pt x="1438" y="2784"/>
                </a:lnTo>
                <a:lnTo>
                  <a:pt x="1434" y="2770"/>
                </a:lnTo>
                <a:lnTo>
                  <a:pt x="1430" y="2756"/>
                </a:lnTo>
                <a:lnTo>
                  <a:pt x="1430" y="2744"/>
                </a:lnTo>
                <a:lnTo>
                  <a:pt x="1430" y="2738"/>
                </a:lnTo>
                <a:lnTo>
                  <a:pt x="1432" y="2726"/>
                </a:lnTo>
                <a:lnTo>
                  <a:pt x="1436" y="2714"/>
                </a:lnTo>
                <a:lnTo>
                  <a:pt x="1442" y="2704"/>
                </a:lnTo>
                <a:lnTo>
                  <a:pt x="1450" y="2698"/>
                </a:lnTo>
                <a:lnTo>
                  <a:pt x="1458" y="2692"/>
                </a:lnTo>
                <a:lnTo>
                  <a:pt x="1466" y="2684"/>
                </a:lnTo>
                <a:lnTo>
                  <a:pt x="1470" y="2676"/>
                </a:lnTo>
                <a:lnTo>
                  <a:pt x="1472" y="2668"/>
                </a:lnTo>
                <a:lnTo>
                  <a:pt x="1474" y="2624"/>
                </a:lnTo>
                <a:lnTo>
                  <a:pt x="1480" y="2568"/>
                </a:lnTo>
                <a:lnTo>
                  <a:pt x="1486" y="2542"/>
                </a:lnTo>
                <a:lnTo>
                  <a:pt x="1492" y="2514"/>
                </a:lnTo>
                <a:lnTo>
                  <a:pt x="1506" y="2472"/>
                </a:lnTo>
                <a:lnTo>
                  <a:pt x="1512" y="2444"/>
                </a:lnTo>
                <a:lnTo>
                  <a:pt x="1516" y="2418"/>
                </a:lnTo>
                <a:lnTo>
                  <a:pt x="1524" y="2328"/>
                </a:lnTo>
                <a:lnTo>
                  <a:pt x="1528" y="2302"/>
                </a:lnTo>
                <a:lnTo>
                  <a:pt x="1536" y="2274"/>
                </a:lnTo>
                <a:lnTo>
                  <a:pt x="1572" y="2158"/>
                </a:lnTo>
                <a:lnTo>
                  <a:pt x="1588" y="2106"/>
                </a:lnTo>
                <a:lnTo>
                  <a:pt x="1616" y="1978"/>
                </a:lnTo>
                <a:lnTo>
                  <a:pt x="1630" y="1924"/>
                </a:lnTo>
                <a:lnTo>
                  <a:pt x="1660" y="1810"/>
                </a:lnTo>
                <a:lnTo>
                  <a:pt x="1664" y="1784"/>
                </a:lnTo>
                <a:lnTo>
                  <a:pt x="1666" y="1758"/>
                </a:lnTo>
                <a:lnTo>
                  <a:pt x="1668" y="1748"/>
                </a:lnTo>
                <a:lnTo>
                  <a:pt x="1672" y="1736"/>
                </a:lnTo>
                <a:lnTo>
                  <a:pt x="1678" y="1724"/>
                </a:lnTo>
                <a:lnTo>
                  <a:pt x="1684" y="1716"/>
                </a:lnTo>
                <a:lnTo>
                  <a:pt x="1728" y="1670"/>
                </a:lnTo>
                <a:lnTo>
                  <a:pt x="1734" y="1660"/>
                </a:lnTo>
                <a:lnTo>
                  <a:pt x="1740" y="1648"/>
                </a:lnTo>
                <a:lnTo>
                  <a:pt x="1744" y="1636"/>
                </a:lnTo>
                <a:lnTo>
                  <a:pt x="1746" y="1624"/>
                </a:lnTo>
                <a:lnTo>
                  <a:pt x="1746" y="1582"/>
                </a:lnTo>
                <a:lnTo>
                  <a:pt x="1746" y="1528"/>
                </a:lnTo>
                <a:lnTo>
                  <a:pt x="1746" y="1446"/>
                </a:lnTo>
                <a:close/>
                <a:moveTo>
                  <a:pt x="190" y="614"/>
                </a:moveTo>
                <a:lnTo>
                  <a:pt x="190" y="614"/>
                </a:lnTo>
                <a:lnTo>
                  <a:pt x="186" y="614"/>
                </a:lnTo>
                <a:lnTo>
                  <a:pt x="190" y="614"/>
                </a:lnTo>
                <a:lnTo>
                  <a:pt x="192" y="614"/>
                </a:lnTo>
                <a:lnTo>
                  <a:pt x="190" y="6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370" name="TextBox 88"/>
          <p:cNvSpPr txBox="1">
            <a:spLocks noChangeArrowheads="1"/>
          </p:cNvSpPr>
          <p:nvPr/>
        </p:nvSpPr>
        <p:spPr bwMode="auto">
          <a:xfrm>
            <a:off x="952500" y="3848100"/>
            <a:ext cx="1955800" cy="1317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FFFFFF"/>
                </a:solidFill>
                <a:latin typeface="Arial" charset="0"/>
              </a:rPr>
              <a:t>Buy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FFFFFF"/>
              </a:solidFill>
              <a:latin typeface="Arial" charset="0"/>
            </a:endParaRPr>
          </a:p>
          <a:p>
            <a:pPr eaLnBrk="1" hangingPunct="1"/>
            <a:endParaRPr lang="nb-NO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5371" name="TextBox 89"/>
          <p:cNvSpPr txBox="1">
            <a:spLocks noChangeArrowheads="1"/>
          </p:cNvSpPr>
          <p:nvPr/>
        </p:nvSpPr>
        <p:spPr bwMode="auto">
          <a:xfrm>
            <a:off x="6464300" y="3848100"/>
            <a:ext cx="1955800" cy="1317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FFFFFF"/>
                </a:solidFill>
                <a:latin typeface="Arial" charset="0"/>
              </a:rPr>
              <a:t>Threat of substitutes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FFFFFF"/>
              </a:solidFill>
              <a:latin typeface="Arial" charset="0"/>
            </a:endParaRPr>
          </a:p>
          <a:p>
            <a:pPr eaLnBrk="1" hangingPunct="1"/>
            <a:endParaRPr lang="nb-NO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5372" name="TextBox 90"/>
          <p:cNvSpPr txBox="1">
            <a:spLocks noChangeArrowheads="1"/>
          </p:cNvSpPr>
          <p:nvPr/>
        </p:nvSpPr>
        <p:spPr bwMode="auto">
          <a:xfrm>
            <a:off x="952500" y="2254250"/>
            <a:ext cx="1955800" cy="1317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FFFFFF"/>
                </a:solidFill>
                <a:latin typeface="Arial" charset="0"/>
              </a:rPr>
              <a:t>Barriers to entry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FFFFFF"/>
              </a:solidFill>
              <a:latin typeface="Arial" charset="0"/>
            </a:endParaRPr>
          </a:p>
          <a:p>
            <a:pPr eaLnBrk="1" hangingPunct="1"/>
            <a:endParaRPr lang="nb-NO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5373" name="TextBox 91"/>
          <p:cNvSpPr txBox="1">
            <a:spLocks noChangeArrowheads="1"/>
          </p:cNvSpPr>
          <p:nvPr/>
        </p:nvSpPr>
        <p:spPr bwMode="auto">
          <a:xfrm>
            <a:off x="6464300" y="2254250"/>
            <a:ext cx="1968500" cy="1317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FFFFFF"/>
                </a:solidFill>
                <a:latin typeface="Arial" charset="0"/>
              </a:rPr>
              <a:t>Suppli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FFFFFF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FFFFFF"/>
              </a:solidFill>
              <a:latin typeface="Arial" charset="0"/>
            </a:endParaRPr>
          </a:p>
          <a:p>
            <a:pPr eaLnBrk="1" hangingPunct="1"/>
            <a:endParaRPr lang="nb-NO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5" name="Subtitle 1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3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</p:spTree>
    <p:extLst>
      <p:ext uri="{BB962C8B-B14F-4D97-AF65-F5344CB8AC3E}">
        <p14:creationId xmlns:p14="http://schemas.microsoft.com/office/powerpoint/2010/main" val="1941243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Gruppe 83"/>
          <p:cNvGrpSpPr>
            <a:grpSpLocks/>
          </p:cNvGrpSpPr>
          <p:nvPr/>
        </p:nvGrpSpPr>
        <p:grpSpPr bwMode="auto">
          <a:xfrm rot="-8100000">
            <a:off x="2691606" y="1885157"/>
            <a:ext cx="1533525" cy="1566862"/>
            <a:chOff x="3717577" y="1040361"/>
            <a:chExt cx="1708847" cy="1742936"/>
          </a:xfrm>
        </p:grpSpPr>
        <p:sp>
          <p:nvSpPr>
            <p:cNvPr id="3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2A9B18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5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16387" name="Gruppe 83"/>
          <p:cNvGrpSpPr>
            <a:grpSpLocks/>
          </p:cNvGrpSpPr>
          <p:nvPr/>
        </p:nvGrpSpPr>
        <p:grpSpPr bwMode="auto">
          <a:xfrm rot="8008569">
            <a:off x="5037138" y="1889125"/>
            <a:ext cx="1549400" cy="1581150"/>
            <a:chOff x="3717577" y="1040361"/>
            <a:chExt cx="1708847" cy="1742936"/>
          </a:xfrm>
        </p:grpSpPr>
        <p:sp>
          <p:nvSpPr>
            <p:cNvPr id="7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9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4103" name="Group 18"/>
          <p:cNvGrpSpPr>
            <a:grpSpLocks/>
          </p:cNvGrpSpPr>
          <p:nvPr/>
        </p:nvGrpSpPr>
        <p:grpSpPr bwMode="auto">
          <a:xfrm rot="18900000">
            <a:off x="3187834" y="2260763"/>
            <a:ext cx="696529" cy="754231"/>
            <a:chOff x="3544548" y="2404084"/>
            <a:chExt cx="711551" cy="771054"/>
          </a:xfrm>
          <a:solidFill>
            <a:schemeClr val="bg1"/>
          </a:solidFill>
        </p:grpSpPr>
        <p:sp>
          <p:nvSpPr>
            <p:cNvPr id="15" name="L-Shape 14"/>
            <p:cNvSpPr/>
            <p:nvPr/>
          </p:nvSpPr>
          <p:spPr bwMode="auto">
            <a:xfrm rot="2700000">
              <a:off x="3487517" y="2680907"/>
              <a:ext cx="547743" cy="437878"/>
            </a:xfrm>
            <a:prstGeom prst="corner">
              <a:avLst>
                <a:gd name="adj1" fmla="val 74088"/>
                <a:gd name="adj2" fmla="val 34067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6" name="Cloud 15"/>
            <p:cNvSpPr/>
            <p:nvPr/>
          </p:nvSpPr>
          <p:spPr bwMode="auto">
            <a:xfrm rot="5280872">
              <a:off x="3887016" y="2294715"/>
              <a:ext cx="259826" cy="474368"/>
            </a:xfrm>
            <a:prstGeom prst="cloud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7" name="&quot;No&quot; Symbol 16"/>
          <p:cNvSpPr/>
          <p:nvPr/>
        </p:nvSpPr>
        <p:spPr bwMode="auto">
          <a:xfrm rot="5594088">
            <a:off x="5379244" y="2204244"/>
            <a:ext cx="850900" cy="849312"/>
          </a:xfrm>
          <a:prstGeom prst="noSmoking">
            <a:avLst>
              <a:gd name="adj" fmla="val 14446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schemeClr val="tx1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16390" name="Gruppe 83"/>
          <p:cNvGrpSpPr>
            <a:grpSpLocks/>
          </p:cNvGrpSpPr>
          <p:nvPr/>
        </p:nvGrpSpPr>
        <p:grpSpPr bwMode="auto">
          <a:xfrm rot="8100000" flipV="1">
            <a:off x="6628606" y="3580607"/>
            <a:ext cx="1533525" cy="1566862"/>
            <a:chOff x="3717577" y="1040361"/>
            <a:chExt cx="1708847" cy="1742936"/>
          </a:xfrm>
        </p:grpSpPr>
        <p:sp>
          <p:nvSpPr>
            <p:cNvPr id="19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  <a:reflection blurRad="6350" stA="52000" endA="300" endPos="35000" dir="5400000" sy="-100000" algn="bl" rotWithShape="0"/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0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21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grpSp>
        <p:nvGrpSpPr>
          <p:cNvPr id="22" name="Gruppe 83"/>
          <p:cNvGrpSpPr>
            <a:grpSpLocks/>
          </p:cNvGrpSpPr>
          <p:nvPr/>
        </p:nvGrpSpPr>
        <p:grpSpPr bwMode="auto">
          <a:xfrm rot="13591431" flipV="1">
            <a:off x="1105191" y="3561832"/>
            <a:ext cx="1549705" cy="1581057"/>
            <a:chOff x="3717577" y="1040361"/>
            <a:chExt cx="1708847" cy="1742936"/>
          </a:xfrm>
          <a:effectLst>
            <a:reflection stA="25000" endPos="35000" dist="12700" dir="5400000" sy="-100000" algn="bl" rotWithShape="0"/>
          </a:effectLst>
        </p:grpSpPr>
        <p:sp>
          <p:nvSpPr>
            <p:cNvPr id="23" name="Tåre 105"/>
            <p:cNvSpPr/>
            <p:nvPr/>
          </p:nvSpPr>
          <p:spPr bwMode="auto">
            <a:xfrm rot="18900000">
              <a:off x="3717577" y="1067209"/>
              <a:ext cx="1708847" cy="1716088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63000">
                  <a:srgbClr val="CE202A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  <a:reflection stA="25000" endPos="35000" dist="12700" dir="5400000" sy="-100000" algn="bl" rotWithShape="0"/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4" name="Tåre 106"/>
            <p:cNvSpPr/>
            <p:nvPr/>
          </p:nvSpPr>
          <p:spPr bwMode="auto">
            <a:xfrm rot="18900000">
              <a:off x="3827250" y="1040361"/>
              <a:ext cx="1491398" cy="1497717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" name="Måne 107"/>
            <p:cNvSpPr/>
            <p:nvPr/>
          </p:nvSpPr>
          <p:spPr bwMode="auto">
            <a:xfrm rot="16045033">
              <a:off x="4274442" y="1717001"/>
              <a:ext cx="595116" cy="1477042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</p:grpSp>
      <p:grpSp>
        <p:nvGrpSpPr>
          <p:cNvPr id="4109" name="Gruppe 46"/>
          <p:cNvGrpSpPr>
            <a:grpSpLocks/>
          </p:cNvGrpSpPr>
          <p:nvPr/>
        </p:nvGrpSpPr>
        <p:grpSpPr bwMode="auto">
          <a:xfrm>
            <a:off x="6983357" y="3939030"/>
            <a:ext cx="939696" cy="697903"/>
            <a:chOff x="4821610" y="587829"/>
            <a:chExt cx="2393544" cy="1781593"/>
          </a:xfrm>
          <a:solidFill>
            <a:schemeClr val="bg1"/>
          </a:solidFill>
        </p:grpSpPr>
        <p:sp>
          <p:nvSpPr>
            <p:cNvPr id="4118" name="Freeform 528"/>
            <p:cNvSpPr>
              <a:spLocks/>
            </p:cNvSpPr>
            <p:nvPr/>
          </p:nvSpPr>
          <p:spPr bwMode="auto">
            <a:xfrm>
              <a:off x="4821610" y="587829"/>
              <a:ext cx="2393544" cy="1781593"/>
            </a:xfrm>
            <a:custGeom>
              <a:avLst/>
              <a:gdLst>
                <a:gd name="T0" fmla="*/ 2147483647 w 794"/>
                <a:gd name="T1" fmla="*/ 2147483647 h 591"/>
                <a:gd name="T2" fmla="*/ 2147483647 w 794"/>
                <a:gd name="T3" fmla="*/ 2147483647 h 591"/>
                <a:gd name="T4" fmla="*/ 2147483647 w 794"/>
                <a:gd name="T5" fmla="*/ 2147483647 h 591"/>
                <a:gd name="T6" fmla="*/ 2147483647 w 794"/>
                <a:gd name="T7" fmla="*/ 2147483647 h 591"/>
                <a:gd name="T8" fmla="*/ 2147483647 w 794"/>
                <a:gd name="T9" fmla="*/ 2147483647 h 591"/>
                <a:gd name="T10" fmla="*/ 2147483647 w 794"/>
                <a:gd name="T11" fmla="*/ 2147483647 h 591"/>
                <a:gd name="T12" fmla="*/ 2147483647 w 794"/>
                <a:gd name="T13" fmla="*/ 2147483647 h 591"/>
                <a:gd name="T14" fmla="*/ 2147483647 w 794"/>
                <a:gd name="T15" fmla="*/ 2147483647 h 591"/>
                <a:gd name="T16" fmla="*/ 2147483647 w 794"/>
                <a:gd name="T17" fmla="*/ 2147483647 h 591"/>
                <a:gd name="T18" fmla="*/ 2147483647 w 794"/>
                <a:gd name="T19" fmla="*/ 2147483647 h 591"/>
                <a:gd name="T20" fmla="*/ 2147483647 w 794"/>
                <a:gd name="T21" fmla="*/ 2147483647 h 591"/>
                <a:gd name="T22" fmla="*/ 2147483647 w 794"/>
                <a:gd name="T23" fmla="*/ 2147483647 h 591"/>
                <a:gd name="T24" fmla="*/ 2147483647 w 794"/>
                <a:gd name="T25" fmla="*/ 2147483647 h 591"/>
                <a:gd name="T26" fmla="*/ 2147483647 w 794"/>
                <a:gd name="T27" fmla="*/ 2147483647 h 591"/>
                <a:gd name="T28" fmla="*/ 2147483647 w 794"/>
                <a:gd name="T29" fmla="*/ 2147483647 h 591"/>
                <a:gd name="T30" fmla="*/ 2147483647 w 794"/>
                <a:gd name="T31" fmla="*/ 2147483647 h 591"/>
                <a:gd name="T32" fmla="*/ 2147483647 w 794"/>
                <a:gd name="T33" fmla="*/ 2147483647 h 591"/>
                <a:gd name="T34" fmla="*/ 2147483647 w 794"/>
                <a:gd name="T35" fmla="*/ 2147483647 h 591"/>
                <a:gd name="T36" fmla="*/ 2147483647 w 794"/>
                <a:gd name="T37" fmla="*/ 2147483647 h 591"/>
                <a:gd name="T38" fmla="*/ 2147483647 w 794"/>
                <a:gd name="T39" fmla="*/ 2147483647 h 591"/>
                <a:gd name="T40" fmla="*/ 2147483647 w 794"/>
                <a:gd name="T41" fmla="*/ 2147483647 h 591"/>
                <a:gd name="T42" fmla="*/ 2147483647 w 794"/>
                <a:gd name="T43" fmla="*/ 0 h 591"/>
                <a:gd name="T44" fmla="*/ 2147483647 w 794"/>
                <a:gd name="T45" fmla="*/ 2147483647 h 591"/>
                <a:gd name="T46" fmla="*/ 2147483647 w 794"/>
                <a:gd name="T47" fmla="*/ 2147483647 h 591"/>
                <a:gd name="T48" fmla="*/ 2147483647 w 794"/>
                <a:gd name="T49" fmla="*/ 2147483647 h 591"/>
                <a:gd name="T50" fmla="*/ 2147483647 w 794"/>
                <a:gd name="T51" fmla="*/ 2147483647 h 591"/>
                <a:gd name="T52" fmla="*/ 2147483647 w 794"/>
                <a:gd name="T53" fmla="*/ 2147483647 h 591"/>
                <a:gd name="T54" fmla="*/ 0 w 794"/>
                <a:gd name="T55" fmla="*/ 2147483647 h 591"/>
                <a:gd name="T56" fmla="*/ 2147483647 w 794"/>
                <a:gd name="T57" fmla="*/ 2147483647 h 591"/>
                <a:gd name="T58" fmla="*/ 2147483647 w 794"/>
                <a:gd name="T59" fmla="*/ 2147483647 h 591"/>
                <a:gd name="T60" fmla="*/ 2147483647 w 794"/>
                <a:gd name="T61" fmla="*/ 2147483647 h 591"/>
                <a:gd name="T62" fmla="*/ 2147483647 w 794"/>
                <a:gd name="T63" fmla="*/ 2147483647 h 591"/>
                <a:gd name="T64" fmla="*/ 2147483647 w 794"/>
                <a:gd name="T65" fmla="*/ 2147483647 h 591"/>
                <a:gd name="T66" fmla="*/ 2147483647 w 794"/>
                <a:gd name="T67" fmla="*/ 2147483647 h 591"/>
                <a:gd name="T68" fmla="*/ 2147483647 w 794"/>
                <a:gd name="T69" fmla="*/ 2147483647 h 591"/>
                <a:gd name="T70" fmla="*/ 2147483647 w 794"/>
                <a:gd name="T71" fmla="*/ 2147483647 h 591"/>
                <a:gd name="T72" fmla="*/ 2147483647 w 794"/>
                <a:gd name="T73" fmla="*/ 2147483647 h 591"/>
                <a:gd name="T74" fmla="*/ 2147483647 w 794"/>
                <a:gd name="T75" fmla="*/ 2147483647 h 591"/>
                <a:gd name="T76" fmla="*/ 2147483647 w 794"/>
                <a:gd name="T77" fmla="*/ 2147483647 h 591"/>
                <a:gd name="T78" fmla="*/ 2147483647 w 794"/>
                <a:gd name="T79" fmla="*/ 2147483647 h 591"/>
                <a:gd name="T80" fmla="*/ 2147483647 w 794"/>
                <a:gd name="T81" fmla="*/ 2147483647 h 591"/>
                <a:gd name="T82" fmla="*/ 2147483647 w 794"/>
                <a:gd name="T83" fmla="*/ 2147483647 h 591"/>
                <a:gd name="T84" fmla="*/ 2147483647 w 794"/>
                <a:gd name="T85" fmla="*/ 2147483647 h 591"/>
                <a:gd name="T86" fmla="*/ 2147483647 w 794"/>
                <a:gd name="T87" fmla="*/ 2147483647 h 591"/>
                <a:gd name="T88" fmla="*/ 2147483647 w 794"/>
                <a:gd name="T89" fmla="*/ 2147483647 h 591"/>
                <a:gd name="T90" fmla="*/ 2147483647 w 794"/>
                <a:gd name="T91" fmla="*/ 2147483647 h 591"/>
                <a:gd name="T92" fmla="*/ 2147483647 w 794"/>
                <a:gd name="T93" fmla="*/ 2147483647 h 591"/>
                <a:gd name="T94" fmla="*/ 2147483647 w 794"/>
                <a:gd name="T95" fmla="*/ 2147483647 h 591"/>
                <a:gd name="T96" fmla="*/ 2147483647 w 794"/>
                <a:gd name="T97" fmla="*/ 2147483647 h 591"/>
                <a:gd name="T98" fmla="*/ 2147483647 w 794"/>
                <a:gd name="T99" fmla="*/ 2147483647 h 591"/>
                <a:gd name="T100" fmla="*/ 2147483647 w 794"/>
                <a:gd name="T101" fmla="*/ 2147483647 h 5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94"/>
                <a:gd name="T154" fmla="*/ 0 h 591"/>
                <a:gd name="T155" fmla="*/ 794 w 794"/>
                <a:gd name="T156" fmla="*/ 591 h 5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94" h="591">
                  <a:moveTo>
                    <a:pt x="783" y="463"/>
                  </a:moveTo>
                  <a:lnTo>
                    <a:pt x="771" y="468"/>
                  </a:lnTo>
                  <a:lnTo>
                    <a:pt x="757" y="474"/>
                  </a:lnTo>
                  <a:lnTo>
                    <a:pt x="742" y="480"/>
                  </a:lnTo>
                  <a:lnTo>
                    <a:pt x="719" y="486"/>
                  </a:lnTo>
                  <a:lnTo>
                    <a:pt x="704" y="486"/>
                  </a:lnTo>
                  <a:lnTo>
                    <a:pt x="698" y="486"/>
                  </a:lnTo>
                  <a:lnTo>
                    <a:pt x="687" y="480"/>
                  </a:lnTo>
                  <a:lnTo>
                    <a:pt x="675" y="480"/>
                  </a:lnTo>
                  <a:lnTo>
                    <a:pt x="660" y="480"/>
                  </a:lnTo>
                  <a:lnTo>
                    <a:pt x="655" y="486"/>
                  </a:lnTo>
                  <a:lnTo>
                    <a:pt x="617" y="474"/>
                  </a:lnTo>
                  <a:lnTo>
                    <a:pt x="620" y="428"/>
                  </a:lnTo>
                  <a:lnTo>
                    <a:pt x="570" y="404"/>
                  </a:lnTo>
                  <a:lnTo>
                    <a:pt x="556" y="404"/>
                  </a:lnTo>
                  <a:lnTo>
                    <a:pt x="521" y="387"/>
                  </a:lnTo>
                  <a:lnTo>
                    <a:pt x="480" y="375"/>
                  </a:lnTo>
                  <a:lnTo>
                    <a:pt x="474" y="369"/>
                  </a:lnTo>
                  <a:lnTo>
                    <a:pt x="460" y="361"/>
                  </a:lnTo>
                  <a:lnTo>
                    <a:pt x="445" y="364"/>
                  </a:lnTo>
                  <a:lnTo>
                    <a:pt x="419" y="340"/>
                  </a:lnTo>
                  <a:lnTo>
                    <a:pt x="401" y="335"/>
                  </a:lnTo>
                  <a:lnTo>
                    <a:pt x="375" y="329"/>
                  </a:lnTo>
                  <a:lnTo>
                    <a:pt x="320" y="332"/>
                  </a:lnTo>
                  <a:lnTo>
                    <a:pt x="326" y="311"/>
                  </a:lnTo>
                  <a:lnTo>
                    <a:pt x="305" y="303"/>
                  </a:lnTo>
                  <a:lnTo>
                    <a:pt x="265" y="308"/>
                  </a:lnTo>
                  <a:lnTo>
                    <a:pt x="285" y="288"/>
                  </a:lnTo>
                  <a:lnTo>
                    <a:pt x="297" y="282"/>
                  </a:lnTo>
                  <a:lnTo>
                    <a:pt x="308" y="271"/>
                  </a:lnTo>
                  <a:lnTo>
                    <a:pt x="314" y="262"/>
                  </a:lnTo>
                  <a:lnTo>
                    <a:pt x="352" y="241"/>
                  </a:lnTo>
                  <a:lnTo>
                    <a:pt x="381" y="256"/>
                  </a:lnTo>
                  <a:lnTo>
                    <a:pt x="407" y="271"/>
                  </a:lnTo>
                  <a:lnTo>
                    <a:pt x="451" y="294"/>
                  </a:lnTo>
                  <a:lnTo>
                    <a:pt x="465" y="294"/>
                  </a:lnTo>
                  <a:lnTo>
                    <a:pt x="477" y="291"/>
                  </a:lnTo>
                  <a:lnTo>
                    <a:pt x="483" y="285"/>
                  </a:lnTo>
                  <a:lnTo>
                    <a:pt x="506" y="262"/>
                  </a:lnTo>
                  <a:lnTo>
                    <a:pt x="532" y="239"/>
                  </a:lnTo>
                  <a:lnTo>
                    <a:pt x="564" y="212"/>
                  </a:lnTo>
                  <a:lnTo>
                    <a:pt x="562" y="198"/>
                  </a:lnTo>
                  <a:lnTo>
                    <a:pt x="564" y="189"/>
                  </a:lnTo>
                  <a:lnTo>
                    <a:pt x="579" y="166"/>
                  </a:lnTo>
                  <a:lnTo>
                    <a:pt x="588" y="157"/>
                  </a:lnTo>
                  <a:lnTo>
                    <a:pt x="596" y="148"/>
                  </a:lnTo>
                  <a:lnTo>
                    <a:pt x="602" y="137"/>
                  </a:lnTo>
                  <a:lnTo>
                    <a:pt x="605" y="113"/>
                  </a:lnTo>
                  <a:lnTo>
                    <a:pt x="596" y="105"/>
                  </a:lnTo>
                  <a:lnTo>
                    <a:pt x="559" y="105"/>
                  </a:lnTo>
                  <a:lnTo>
                    <a:pt x="556" y="111"/>
                  </a:lnTo>
                  <a:lnTo>
                    <a:pt x="541" y="122"/>
                  </a:lnTo>
                  <a:lnTo>
                    <a:pt x="541" y="128"/>
                  </a:lnTo>
                  <a:lnTo>
                    <a:pt x="541" y="134"/>
                  </a:lnTo>
                  <a:lnTo>
                    <a:pt x="541" y="137"/>
                  </a:lnTo>
                  <a:lnTo>
                    <a:pt x="544" y="148"/>
                  </a:lnTo>
                  <a:lnTo>
                    <a:pt x="541" y="157"/>
                  </a:lnTo>
                  <a:lnTo>
                    <a:pt x="535" y="169"/>
                  </a:lnTo>
                  <a:lnTo>
                    <a:pt x="509" y="198"/>
                  </a:lnTo>
                  <a:lnTo>
                    <a:pt x="486" y="209"/>
                  </a:lnTo>
                  <a:lnTo>
                    <a:pt x="465" y="227"/>
                  </a:lnTo>
                  <a:lnTo>
                    <a:pt x="457" y="233"/>
                  </a:lnTo>
                  <a:lnTo>
                    <a:pt x="451" y="230"/>
                  </a:lnTo>
                  <a:lnTo>
                    <a:pt x="448" y="224"/>
                  </a:lnTo>
                  <a:lnTo>
                    <a:pt x="422" y="207"/>
                  </a:lnTo>
                  <a:lnTo>
                    <a:pt x="407" y="186"/>
                  </a:lnTo>
                  <a:lnTo>
                    <a:pt x="416" y="160"/>
                  </a:lnTo>
                  <a:lnTo>
                    <a:pt x="410" y="145"/>
                  </a:lnTo>
                  <a:lnTo>
                    <a:pt x="399" y="140"/>
                  </a:lnTo>
                  <a:lnTo>
                    <a:pt x="407" y="137"/>
                  </a:lnTo>
                  <a:lnTo>
                    <a:pt x="413" y="131"/>
                  </a:lnTo>
                  <a:lnTo>
                    <a:pt x="413" y="111"/>
                  </a:lnTo>
                  <a:lnTo>
                    <a:pt x="419" y="96"/>
                  </a:lnTo>
                  <a:lnTo>
                    <a:pt x="422" y="96"/>
                  </a:lnTo>
                  <a:lnTo>
                    <a:pt x="425" y="93"/>
                  </a:lnTo>
                  <a:lnTo>
                    <a:pt x="428" y="90"/>
                  </a:lnTo>
                  <a:lnTo>
                    <a:pt x="422" y="76"/>
                  </a:lnTo>
                  <a:lnTo>
                    <a:pt x="425" y="55"/>
                  </a:lnTo>
                  <a:lnTo>
                    <a:pt x="422" y="44"/>
                  </a:lnTo>
                  <a:lnTo>
                    <a:pt x="428" y="44"/>
                  </a:lnTo>
                  <a:lnTo>
                    <a:pt x="431" y="41"/>
                  </a:lnTo>
                  <a:lnTo>
                    <a:pt x="433" y="35"/>
                  </a:lnTo>
                  <a:lnTo>
                    <a:pt x="431" y="32"/>
                  </a:lnTo>
                  <a:lnTo>
                    <a:pt x="422" y="26"/>
                  </a:lnTo>
                  <a:lnTo>
                    <a:pt x="416" y="20"/>
                  </a:lnTo>
                  <a:lnTo>
                    <a:pt x="407" y="12"/>
                  </a:lnTo>
                  <a:lnTo>
                    <a:pt x="399" y="9"/>
                  </a:lnTo>
                  <a:lnTo>
                    <a:pt x="390" y="6"/>
                  </a:lnTo>
                  <a:lnTo>
                    <a:pt x="378" y="3"/>
                  </a:lnTo>
                  <a:lnTo>
                    <a:pt x="367" y="0"/>
                  </a:lnTo>
                  <a:lnTo>
                    <a:pt x="358" y="0"/>
                  </a:lnTo>
                  <a:lnTo>
                    <a:pt x="343" y="6"/>
                  </a:lnTo>
                  <a:lnTo>
                    <a:pt x="334" y="9"/>
                  </a:lnTo>
                  <a:lnTo>
                    <a:pt x="329" y="15"/>
                  </a:lnTo>
                  <a:lnTo>
                    <a:pt x="317" y="26"/>
                  </a:lnTo>
                  <a:lnTo>
                    <a:pt x="311" y="41"/>
                  </a:lnTo>
                  <a:lnTo>
                    <a:pt x="308" y="55"/>
                  </a:lnTo>
                  <a:lnTo>
                    <a:pt x="305" y="76"/>
                  </a:lnTo>
                  <a:lnTo>
                    <a:pt x="282" y="55"/>
                  </a:lnTo>
                  <a:lnTo>
                    <a:pt x="273" y="49"/>
                  </a:lnTo>
                  <a:lnTo>
                    <a:pt x="265" y="47"/>
                  </a:lnTo>
                  <a:lnTo>
                    <a:pt x="253" y="47"/>
                  </a:lnTo>
                  <a:lnTo>
                    <a:pt x="244" y="49"/>
                  </a:lnTo>
                  <a:lnTo>
                    <a:pt x="230" y="55"/>
                  </a:lnTo>
                  <a:lnTo>
                    <a:pt x="224" y="58"/>
                  </a:lnTo>
                  <a:lnTo>
                    <a:pt x="206" y="67"/>
                  </a:lnTo>
                  <a:lnTo>
                    <a:pt x="174" y="67"/>
                  </a:lnTo>
                  <a:lnTo>
                    <a:pt x="142" y="76"/>
                  </a:lnTo>
                  <a:lnTo>
                    <a:pt x="122" y="79"/>
                  </a:lnTo>
                  <a:lnTo>
                    <a:pt x="105" y="81"/>
                  </a:lnTo>
                  <a:lnTo>
                    <a:pt x="93" y="87"/>
                  </a:lnTo>
                  <a:lnTo>
                    <a:pt x="84" y="96"/>
                  </a:lnTo>
                  <a:lnTo>
                    <a:pt x="17" y="201"/>
                  </a:lnTo>
                  <a:lnTo>
                    <a:pt x="17" y="207"/>
                  </a:lnTo>
                  <a:lnTo>
                    <a:pt x="6" y="207"/>
                  </a:lnTo>
                  <a:lnTo>
                    <a:pt x="0" y="224"/>
                  </a:lnTo>
                  <a:lnTo>
                    <a:pt x="6" y="233"/>
                  </a:lnTo>
                  <a:lnTo>
                    <a:pt x="11" y="236"/>
                  </a:lnTo>
                  <a:lnTo>
                    <a:pt x="14" y="241"/>
                  </a:lnTo>
                  <a:lnTo>
                    <a:pt x="29" y="244"/>
                  </a:lnTo>
                  <a:lnTo>
                    <a:pt x="43" y="247"/>
                  </a:lnTo>
                  <a:lnTo>
                    <a:pt x="49" y="239"/>
                  </a:lnTo>
                  <a:lnTo>
                    <a:pt x="52" y="233"/>
                  </a:lnTo>
                  <a:lnTo>
                    <a:pt x="55" y="221"/>
                  </a:lnTo>
                  <a:lnTo>
                    <a:pt x="70" y="207"/>
                  </a:lnTo>
                  <a:lnTo>
                    <a:pt x="73" y="198"/>
                  </a:lnTo>
                  <a:lnTo>
                    <a:pt x="93" y="175"/>
                  </a:lnTo>
                  <a:lnTo>
                    <a:pt x="96" y="166"/>
                  </a:lnTo>
                  <a:lnTo>
                    <a:pt x="105" y="166"/>
                  </a:lnTo>
                  <a:lnTo>
                    <a:pt x="134" y="143"/>
                  </a:lnTo>
                  <a:lnTo>
                    <a:pt x="160" y="140"/>
                  </a:lnTo>
                  <a:lnTo>
                    <a:pt x="183" y="134"/>
                  </a:lnTo>
                  <a:lnTo>
                    <a:pt x="183" y="140"/>
                  </a:lnTo>
                  <a:lnTo>
                    <a:pt x="139" y="215"/>
                  </a:lnTo>
                  <a:lnTo>
                    <a:pt x="131" y="221"/>
                  </a:lnTo>
                  <a:lnTo>
                    <a:pt x="128" y="227"/>
                  </a:lnTo>
                  <a:lnTo>
                    <a:pt x="128" y="241"/>
                  </a:lnTo>
                  <a:lnTo>
                    <a:pt x="116" y="244"/>
                  </a:lnTo>
                  <a:lnTo>
                    <a:pt x="110" y="253"/>
                  </a:lnTo>
                  <a:lnTo>
                    <a:pt x="73" y="291"/>
                  </a:lnTo>
                  <a:lnTo>
                    <a:pt x="73" y="303"/>
                  </a:lnTo>
                  <a:lnTo>
                    <a:pt x="78" y="317"/>
                  </a:lnTo>
                  <a:lnTo>
                    <a:pt x="84" y="337"/>
                  </a:lnTo>
                  <a:lnTo>
                    <a:pt x="87" y="361"/>
                  </a:lnTo>
                  <a:lnTo>
                    <a:pt x="90" y="364"/>
                  </a:lnTo>
                  <a:lnTo>
                    <a:pt x="93" y="375"/>
                  </a:lnTo>
                  <a:lnTo>
                    <a:pt x="99" y="390"/>
                  </a:lnTo>
                  <a:lnTo>
                    <a:pt x="105" y="399"/>
                  </a:lnTo>
                  <a:lnTo>
                    <a:pt x="113" y="410"/>
                  </a:lnTo>
                  <a:lnTo>
                    <a:pt x="128" y="422"/>
                  </a:lnTo>
                  <a:lnTo>
                    <a:pt x="134" y="428"/>
                  </a:lnTo>
                  <a:lnTo>
                    <a:pt x="137" y="436"/>
                  </a:lnTo>
                  <a:lnTo>
                    <a:pt x="125" y="433"/>
                  </a:lnTo>
                  <a:lnTo>
                    <a:pt x="113" y="436"/>
                  </a:lnTo>
                  <a:lnTo>
                    <a:pt x="102" y="442"/>
                  </a:lnTo>
                  <a:lnTo>
                    <a:pt x="96" y="433"/>
                  </a:lnTo>
                  <a:lnTo>
                    <a:pt x="90" y="428"/>
                  </a:lnTo>
                  <a:lnTo>
                    <a:pt x="84" y="425"/>
                  </a:lnTo>
                  <a:lnTo>
                    <a:pt x="78" y="425"/>
                  </a:lnTo>
                  <a:lnTo>
                    <a:pt x="73" y="428"/>
                  </a:lnTo>
                  <a:lnTo>
                    <a:pt x="64" y="431"/>
                  </a:lnTo>
                  <a:lnTo>
                    <a:pt x="64" y="436"/>
                  </a:lnTo>
                  <a:lnTo>
                    <a:pt x="43" y="463"/>
                  </a:lnTo>
                  <a:lnTo>
                    <a:pt x="55" y="468"/>
                  </a:lnTo>
                  <a:lnTo>
                    <a:pt x="38" y="480"/>
                  </a:lnTo>
                  <a:lnTo>
                    <a:pt x="26" y="492"/>
                  </a:lnTo>
                  <a:lnTo>
                    <a:pt x="17" y="506"/>
                  </a:lnTo>
                  <a:lnTo>
                    <a:pt x="11" y="521"/>
                  </a:lnTo>
                  <a:lnTo>
                    <a:pt x="8" y="535"/>
                  </a:lnTo>
                  <a:lnTo>
                    <a:pt x="8" y="556"/>
                  </a:lnTo>
                  <a:lnTo>
                    <a:pt x="8" y="564"/>
                  </a:lnTo>
                  <a:lnTo>
                    <a:pt x="38" y="561"/>
                  </a:lnTo>
                  <a:lnTo>
                    <a:pt x="43" y="550"/>
                  </a:lnTo>
                  <a:lnTo>
                    <a:pt x="55" y="538"/>
                  </a:lnTo>
                  <a:lnTo>
                    <a:pt x="67" y="529"/>
                  </a:lnTo>
                  <a:lnTo>
                    <a:pt x="81" y="524"/>
                  </a:lnTo>
                  <a:lnTo>
                    <a:pt x="105" y="515"/>
                  </a:lnTo>
                  <a:lnTo>
                    <a:pt x="116" y="512"/>
                  </a:lnTo>
                  <a:lnTo>
                    <a:pt x="119" y="529"/>
                  </a:lnTo>
                  <a:lnTo>
                    <a:pt x="163" y="512"/>
                  </a:lnTo>
                  <a:lnTo>
                    <a:pt x="206" y="506"/>
                  </a:lnTo>
                  <a:lnTo>
                    <a:pt x="215" y="503"/>
                  </a:lnTo>
                  <a:lnTo>
                    <a:pt x="241" y="500"/>
                  </a:lnTo>
                  <a:lnTo>
                    <a:pt x="250" y="495"/>
                  </a:lnTo>
                  <a:lnTo>
                    <a:pt x="262" y="492"/>
                  </a:lnTo>
                  <a:lnTo>
                    <a:pt x="273" y="492"/>
                  </a:lnTo>
                  <a:lnTo>
                    <a:pt x="282" y="492"/>
                  </a:lnTo>
                  <a:lnTo>
                    <a:pt x="291" y="489"/>
                  </a:lnTo>
                  <a:lnTo>
                    <a:pt x="305" y="480"/>
                  </a:lnTo>
                  <a:lnTo>
                    <a:pt x="320" y="468"/>
                  </a:lnTo>
                  <a:lnTo>
                    <a:pt x="329" y="468"/>
                  </a:lnTo>
                  <a:lnTo>
                    <a:pt x="334" y="463"/>
                  </a:lnTo>
                  <a:lnTo>
                    <a:pt x="337" y="457"/>
                  </a:lnTo>
                  <a:lnTo>
                    <a:pt x="340" y="448"/>
                  </a:lnTo>
                  <a:lnTo>
                    <a:pt x="340" y="439"/>
                  </a:lnTo>
                  <a:lnTo>
                    <a:pt x="340" y="428"/>
                  </a:lnTo>
                  <a:lnTo>
                    <a:pt x="372" y="413"/>
                  </a:lnTo>
                  <a:lnTo>
                    <a:pt x="407" y="419"/>
                  </a:lnTo>
                  <a:lnTo>
                    <a:pt x="416" y="436"/>
                  </a:lnTo>
                  <a:lnTo>
                    <a:pt x="431" y="448"/>
                  </a:lnTo>
                  <a:lnTo>
                    <a:pt x="486" y="474"/>
                  </a:lnTo>
                  <a:lnTo>
                    <a:pt x="512" y="486"/>
                  </a:lnTo>
                  <a:lnTo>
                    <a:pt x="541" y="500"/>
                  </a:lnTo>
                  <a:lnTo>
                    <a:pt x="564" y="515"/>
                  </a:lnTo>
                  <a:lnTo>
                    <a:pt x="576" y="515"/>
                  </a:lnTo>
                  <a:lnTo>
                    <a:pt x="591" y="532"/>
                  </a:lnTo>
                  <a:lnTo>
                    <a:pt x="605" y="538"/>
                  </a:lnTo>
                  <a:lnTo>
                    <a:pt x="608" y="553"/>
                  </a:lnTo>
                  <a:lnTo>
                    <a:pt x="617" y="567"/>
                  </a:lnTo>
                  <a:lnTo>
                    <a:pt x="628" y="588"/>
                  </a:lnTo>
                  <a:lnTo>
                    <a:pt x="634" y="591"/>
                  </a:lnTo>
                  <a:lnTo>
                    <a:pt x="640" y="591"/>
                  </a:lnTo>
                  <a:lnTo>
                    <a:pt x="643" y="588"/>
                  </a:lnTo>
                  <a:lnTo>
                    <a:pt x="684" y="564"/>
                  </a:lnTo>
                  <a:lnTo>
                    <a:pt x="681" y="553"/>
                  </a:lnTo>
                  <a:lnTo>
                    <a:pt x="707" y="544"/>
                  </a:lnTo>
                  <a:lnTo>
                    <a:pt x="727" y="538"/>
                  </a:lnTo>
                  <a:lnTo>
                    <a:pt x="745" y="529"/>
                  </a:lnTo>
                  <a:lnTo>
                    <a:pt x="759" y="515"/>
                  </a:lnTo>
                  <a:lnTo>
                    <a:pt x="771" y="503"/>
                  </a:lnTo>
                  <a:lnTo>
                    <a:pt x="789" y="480"/>
                  </a:lnTo>
                  <a:lnTo>
                    <a:pt x="794" y="471"/>
                  </a:lnTo>
                  <a:lnTo>
                    <a:pt x="783" y="4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Freeform 590"/>
            <p:cNvSpPr>
              <a:spLocks/>
            </p:cNvSpPr>
            <p:nvPr/>
          </p:nvSpPr>
          <p:spPr bwMode="auto">
            <a:xfrm>
              <a:off x="5451490" y="938536"/>
              <a:ext cx="423420" cy="112226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5"/>
                </a:cxn>
                <a:cxn ang="0">
                  <a:pos x="15" y="12"/>
                </a:cxn>
                <a:cxn ang="0">
                  <a:pos x="29" y="3"/>
                </a:cxn>
                <a:cxn ang="0">
                  <a:pos x="29" y="3"/>
                </a:cxn>
                <a:cxn ang="0">
                  <a:pos x="35" y="0"/>
                </a:cxn>
                <a:cxn ang="0">
                  <a:pos x="41" y="3"/>
                </a:cxn>
                <a:cxn ang="0">
                  <a:pos x="50" y="12"/>
                </a:cxn>
                <a:cxn ang="0">
                  <a:pos x="50" y="12"/>
                </a:cxn>
                <a:cxn ang="0">
                  <a:pos x="61" y="15"/>
                </a:cxn>
                <a:cxn ang="0">
                  <a:pos x="76" y="18"/>
                </a:cxn>
                <a:cxn ang="0">
                  <a:pos x="102" y="15"/>
                </a:cxn>
                <a:cxn ang="0">
                  <a:pos x="102" y="15"/>
                </a:cxn>
                <a:cxn ang="0">
                  <a:pos x="114" y="15"/>
                </a:cxn>
                <a:cxn ang="0">
                  <a:pos x="125" y="18"/>
                </a:cxn>
                <a:cxn ang="0">
                  <a:pos x="125" y="18"/>
                </a:cxn>
                <a:cxn ang="0">
                  <a:pos x="140" y="21"/>
                </a:cxn>
                <a:cxn ang="0">
                  <a:pos x="140" y="21"/>
                </a:cxn>
                <a:cxn ang="0">
                  <a:pos x="134" y="27"/>
                </a:cxn>
                <a:cxn ang="0">
                  <a:pos x="128" y="29"/>
                </a:cxn>
                <a:cxn ang="0">
                  <a:pos x="128" y="29"/>
                </a:cxn>
                <a:cxn ang="0">
                  <a:pos x="120" y="29"/>
                </a:cxn>
                <a:cxn ang="0">
                  <a:pos x="111" y="29"/>
                </a:cxn>
                <a:cxn ang="0">
                  <a:pos x="111" y="29"/>
                </a:cxn>
                <a:cxn ang="0">
                  <a:pos x="96" y="29"/>
                </a:cxn>
                <a:cxn ang="0">
                  <a:pos x="79" y="32"/>
                </a:cxn>
                <a:cxn ang="0">
                  <a:pos x="79" y="32"/>
                </a:cxn>
                <a:cxn ang="0">
                  <a:pos x="56" y="38"/>
                </a:cxn>
                <a:cxn ang="0">
                  <a:pos x="44" y="38"/>
                </a:cxn>
                <a:cxn ang="0">
                  <a:pos x="32" y="35"/>
                </a:cxn>
                <a:cxn ang="0">
                  <a:pos x="32" y="35"/>
                </a:cxn>
                <a:cxn ang="0">
                  <a:pos x="21" y="29"/>
                </a:cxn>
                <a:cxn ang="0">
                  <a:pos x="12" y="24"/>
                </a:cxn>
                <a:cxn ang="0">
                  <a:pos x="0" y="15"/>
                </a:cxn>
              </a:cxnLst>
              <a:rect l="0" t="0" r="r" b="b"/>
              <a:pathLst>
                <a:path w="140" h="38">
                  <a:moveTo>
                    <a:pt x="0" y="15"/>
                  </a:moveTo>
                  <a:lnTo>
                    <a:pt x="0" y="15"/>
                  </a:lnTo>
                  <a:lnTo>
                    <a:pt x="15" y="1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5" y="0"/>
                  </a:lnTo>
                  <a:lnTo>
                    <a:pt x="41" y="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61" y="15"/>
                  </a:lnTo>
                  <a:lnTo>
                    <a:pt x="76" y="18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14" y="15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34" y="27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0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96" y="29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56" y="38"/>
                  </a:lnTo>
                  <a:lnTo>
                    <a:pt x="44" y="38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21" y="29"/>
                  </a:lnTo>
                  <a:lnTo>
                    <a:pt x="12" y="24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latin typeface="Calibri" charset="0"/>
                <a:ea typeface="+mn-ea"/>
              </a:endParaRPr>
            </a:p>
          </p:txBody>
        </p:sp>
        <p:sp>
          <p:nvSpPr>
            <p:cNvPr id="4120" name="Freeform 591"/>
            <p:cNvSpPr>
              <a:spLocks noEditPoints="1"/>
            </p:cNvSpPr>
            <p:nvPr/>
          </p:nvSpPr>
          <p:spPr bwMode="auto">
            <a:xfrm>
              <a:off x="5689798" y="877225"/>
              <a:ext cx="298439" cy="340643"/>
            </a:xfrm>
            <a:custGeom>
              <a:avLst/>
              <a:gdLst>
                <a:gd name="T0" fmla="*/ 2147483647 w 99"/>
                <a:gd name="T1" fmla="*/ 2147483647 h 113"/>
                <a:gd name="T2" fmla="*/ 2147483647 w 99"/>
                <a:gd name="T3" fmla="*/ 2147483647 h 113"/>
                <a:gd name="T4" fmla="*/ 2147483647 w 99"/>
                <a:gd name="T5" fmla="*/ 2147483647 h 113"/>
                <a:gd name="T6" fmla="*/ 2147483647 w 99"/>
                <a:gd name="T7" fmla="*/ 0 h 113"/>
                <a:gd name="T8" fmla="*/ 2147483647 w 99"/>
                <a:gd name="T9" fmla="*/ 2147483647 h 113"/>
                <a:gd name="T10" fmla="*/ 2147483647 w 99"/>
                <a:gd name="T11" fmla="*/ 2147483647 h 113"/>
                <a:gd name="T12" fmla="*/ 2147483647 w 99"/>
                <a:gd name="T13" fmla="*/ 2147483647 h 113"/>
                <a:gd name="T14" fmla="*/ 2147483647 w 99"/>
                <a:gd name="T15" fmla="*/ 2147483647 h 113"/>
                <a:gd name="T16" fmla="*/ 0 w 99"/>
                <a:gd name="T17" fmla="*/ 2147483647 h 113"/>
                <a:gd name="T18" fmla="*/ 2147483647 w 99"/>
                <a:gd name="T19" fmla="*/ 2147483647 h 113"/>
                <a:gd name="T20" fmla="*/ 2147483647 w 99"/>
                <a:gd name="T21" fmla="*/ 2147483647 h 113"/>
                <a:gd name="T22" fmla="*/ 2147483647 w 99"/>
                <a:gd name="T23" fmla="*/ 2147483647 h 113"/>
                <a:gd name="T24" fmla="*/ 2147483647 w 99"/>
                <a:gd name="T25" fmla="*/ 2147483647 h 113"/>
                <a:gd name="T26" fmla="*/ 2147483647 w 99"/>
                <a:gd name="T27" fmla="*/ 2147483647 h 113"/>
                <a:gd name="T28" fmla="*/ 2147483647 w 99"/>
                <a:gd name="T29" fmla="*/ 2147483647 h 113"/>
                <a:gd name="T30" fmla="*/ 2147483647 w 99"/>
                <a:gd name="T31" fmla="*/ 2147483647 h 113"/>
                <a:gd name="T32" fmla="*/ 2147483647 w 99"/>
                <a:gd name="T33" fmla="*/ 2147483647 h 113"/>
                <a:gd name="T34" fmla="*/ 2147483647 w 99"/>
                <a:gd name="T35" fmla="*/ 2147483647 h 113"/>
                <a:gd name="T36" fmla="*/ 2147483647 w 99"/>
                <a:gd name="T37" fmla="*/ 2147483647 h 113"/>
                <a:gd name="T38" fmla="*/ 2147483647 w 99"/>
                <a:gd name="T39" fmla="*/ 2147483647 h 113"/>
                <a:gd name="T40" fmla="*/ 2147483647 w 99"/>
                <a:gd name="T41" fmla="*/ 2147483647 h 113"/>
                <a:gd name="T42" fmla="*/ 2147483647 w 99"/>
                <a:gd name="T43" fmla="*/ 2147483647 h 113"/>
                <a:gd name="T44" fmla="*/ 2147483647 w 99"/>
                <a:gd name="T45" fmla="*/ 2147483647 h 113"/>
                <a:gd name="T46" fmla="*/ 2147483647 w 99"/>
                <a:gd name="T47" fmla="*/ 2147483647 h 113"/>
                <a:gd name="T48" fmla="*/ 2147483647 w 99"/>
                <a:gd name="T49" fmla="*/ 2147483647 h 113"/>
                <a:gd name="T50" fmla="*/ 2147483647 w 99"/>
                <a:gd name="T51" fmla="*/ 2147483647 h 113"/>
                <a:gd name="T52" fmla="*/ 2147483647 w 99"/>
                <a:gd name="T53" fmla="*/ 2147483647 h 113"/>
                <a:gd name="T54" fmla="*/ 2147483647 w 99"/>
                <a:gd name="T55" fmla="*/ 2147483647 h 1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9"/>
                <a:gd name="T85" fmla="*/ 0 h 113"/>
                <a:gd name="T86" fmla="*/ 99 w 99"/>
                <a:gd name="T87" fmla="*/ 113 h 1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9" h="113">
                  <a:moveTo>
                    <a:pt x="73" y="38"/>
                  </a:moveTo>
                  <a:lnTo>
                    <a:pt x="70" y="29"/>
                  </a:lnTo>
                  <a:lnTo>
                    <a:pt x="64" y="12"/>
                  </a:lnTo>
                  <a:lnTo>
                    <a:pt x="38" y="0"/>
                  </a:lnTo>
                  <a:lnTo>
                    <a:pt x="41" y="17"/>
                  </a:lnTo>
                  <a:lnTo>
                    <a:pt x="35" y="32"/>
                  </a:lnTo>
                  <a:lnTo>
                    <a:pt x="26" y="49"/>
                  </a:lnTo>
                  <a:lnTo>
                    <a:pt x="6" y="79"/>
                  </a:lnTo>
                  <a:lnTo>
                    <a:pt x="0" y="113"/>
                  </a:lnTo>
                  <a:lnTo>
                    <a:pt x="3" y="108"/>
                  </a:lnTo>
                  <a:lnTo>
                    <a:pt x="17" y="102"/>
                  </a:lnTo>
                  <a:lnTo>
                    <a:pt x="32" y="96"/>
                  </a:lnTo>
                  <a:lnTo>
                    <a:pt x="46" y="93"/>
                  </a:lnTo>
                  <a:lnTo>
                    <a:pt x="58" y="90"/>
                  </a:lnTo>
                  <a:lnTo>
                    <a:pt x="64" y="90"/>
                  </a:lnTo>
                  <a:lnTo>
                    <a:pt x="81" y="79"/>
                  </a:lnTo>
                  <a:lnTo>
                    <a:pt x="93" y="61"/>
                  </a:lnTo>
                  <a:lnTo>
                    <a:pt x="99" y="41"/>
                  </a:lnTo>
                  <a:lnTo>
                    <a:pt x="73" y="38"/>
                  </a:lnTo>
                  <a:close/>
                  <a:moveTo>
                    <a:pt x="79" y="47"/>
                  </a:moveTo>
                  <a:lnTo>
                    <a:pt x="79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21" name="Freeform 592"/>
            <p:cNvSpPr>
              <a:spLocks/>
            </p:cNvSpPr>
            <p:nvPr/>
          </p:nvSpPr>
          <p:spPr bwMode="auto">
            <a:xfrm>
              <a:off x="5768176" y="982734"/>
              <a:ext cx="150727" cy="78378"/>
            </a:xfrm>
            <a:custGeom>
              <a:avLst/>
              <a:gdLst>
                <a:gd name="T0" fmla="*/ 2147483647 w 50"/>
                <a:gd name="T1" fmla="*/ 2147483647 h 26"/>
                <a:gd name="T2" fmla="*/ 2147483647 w 50"/>
                <a:gd name="T3" fmla="*/ 2147483647 h 26"/>
                <a:gd name="T4" fmla="*/ 2147483647 w 50"/>
                <a:gd name="T5" fmla="*/ 2147483647 h 26"/>
                <a:gd name="T6" fmla="*/ 2147483647 w 50"/>
                <a:gd name="T7" fmla="*/ 2147483647 h 26"/>
                <a:gd name="T8" fmla="*/ 2147483647 w 50"/>
                <a:gd name="T9" fmla="*/ 2147483647 h 26"/>
                <a:gd name="T10" fmla="*/ 2147483647 w 50"/>
                <a:gd name="T11" fmla="*/ 2147483647 h 26"/>
                <a:gd name="T12" fmla="*/ 2147483647 w 50"/>
                <a:gd name="T13" fmla="*/ 2147483647 h 26"/>
                <a:gd name="T14" fmla="*/ 2147483647 w 50"/>
                <a:gd name="T15" fmla="*/ 2147483647 h 26"/>
                <a:gd name="T16" fmla="*/ 2147483647 w 50"/>
                <a:gd name="T17" fmla="*/ 2147483647 h 26"/>
                <a:gd name="T18" fmla="*/ 2147483647 w 50"/>
                <a:gd name="T19" fmla="*/ 2147483647 h 26"/>
                <a:gd name="T20" fmla="*/ 2147483647 w 50"/>
                <a:gd name="T21" fmla="*/ 0 h 26"/>
                <a:gd name="T22" fmla="*/ 2147483647 w 50"/>
                <a:gd name="T23" fmla="*/ 0 h 26"/>
                <a:gd name="T24" fmla="*/ 2147483647 w 50"/>
                <a:gd name="T25" fmla="*/ 0 h 26"/>
                <a:gd name="T26" fmla="*/ 2147483647 w 50"/>
                <a:gd name="T27" fmla="*/ 0 h 26"/>
                <a:gd name="T28" fmla="*/ 2147483647 w 50"/>
                <a:gd name="T29" fmla="*/ 2147483647 h 26"/>
                <a:gd name="T30" fmla="*/ 2147483647 w 50"/>
                <a:gd name="T31" fmla="*/ 2147483647 h 26"/>
                <a:gd name="T32" fmla="*/ 2147483647 w 50"/>
                <a:gd name="T33" fmla="*/ 2147483647 h 26"/>
                <a:gd name="T34" fmla="*/ 2147483647 w 50"/>
                <a:gd name="T35" fmla="*/ 2147483647 h 26"/>
                <a:gd name="T36" fmla="*/ 2147483647 w 50"/>
                <a:gd name="T37" fmla="*/ 2147483647 h 26"/>
                <a:gd name="T38" fmla="*/ 2147483647 w 50"/>
                <a:gd name="T39" fmla="*/ 2147483647 h 26"/>
                <a:gd name="T40" fmla="*/ 2147483647 w 50"/>
                <a:gd name="T41" fmla="*/ 2147483647 h 26"/>
                <a:gd name="T42" fmla="*/ 2147483647 w 50"/>
                <a:gd name="T43" fmla="*/ 2147483647 h 26"/>
                <a:gd name="T44" fmla="*/ 2147483647 w 50"/>
                <a:gd name="T45" fmla="*/ 2147483647 h 26"/>
                <a:gd name="T46" fmla="*/ 2147483647 w 50"/>
                <a:gd name="T47" fmla="*/ 2147483647 h 26"/>
                <a:gd name="T48" fmla="*/ 2147483647 w 50"/>
                <a:gd name="T49" fmla="*/ 2147483647 h 26"/>
                <a:gd name="T50" fmla="*/ 0 w 50"/>
                <a:gd name="T51" fmla="*/ 2147483647 h 26"/>
                <a:gd name="T52" fmla="*/ 0 w 50"/>
                <a:gd name="T53" fmla="*/ 2147483647 h 26"/>
                <a:gd name="T54" fmla="*/ 2147483647 w 50"/>
                <a:gd name="T55" fmla="*/ 2147483647 h 26"/>
                <a:gd name="T56" fmla="*/ 2147483647 w 50"/>
                <a:gd name="T57" fmla="*/ 2147483647 h 2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0"/>
                <a:gd name="T88" fmla="*/ 0 h 26"/>
                <a:gd name="T89" fmla="*/ 50 w 50"/>
                <a:gd name="T90" fmla="*/ 26 h 2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0" h="26">
                  <a:moveTo>
                    <a:pt x="9" y="14"/>
                  </a:moveTo>
                  <a:lnTo>
                    <a:pt x="9" y="14"/>
                  </a:lnTo>
                  <a:lnTo>
                    <a:pt x="18" y="17"/>
                  </a:lnTo>
                  <a:lnTo>
                    <a:pt x="29" y="23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7" y="23"/>
                  </a:lnTo>
                  <a:lnTo>
                    <a:pt x="50" y="14"/>
                  </a:lnTo>
                  <a:lnTo>
                    <a:pt x="50" y="6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8" y="6"/>
                  </a:lnTo>
                  <a:lnTo>
                    <a:pt x="35" y="9"/>
                  </a:lnTo>
                  <a:lnTo>
                    <a:pt x="32" y="12"/>
                  </a:lnTo>
                  <a:lnTo>
                    <a:pt x="23" y="9"/>
                  </a:lnTo>
                  <a:lnTo>
                    <a:pt x="15" y="3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7"/>
                  </a:lnTo>
                  <a:lnTo>
                    <a:pt x="9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6393" name="Freeform 6"/>
          <p:cNvSpPr>
            <a:spLocks noEditPoints="1"/>
          </p:cNvSpPr>
          <p:nvPr/>
        </p:nvSpPr>
        <p:spPr bwMode="auto">
          <a:xfrm>
            <a:off x="1682750" y="3910013"/>
            <a:ext cx="471488" cy="927100"/>
          </a:xfrm>
          <a:custGeom>
            <a:avLst/>
            <a:gdLst>
              <a:gd name="T0" fmla="*/ 2147483647 w 1746"/>
              <a:gd name="T1" fmla="*/ 2147483647 h 3442"/>
              <a:gd name="T2" fmla="*/ 2147483647 w 1746"/>
              <a:gd name="T3" fmla="*/ 2147483647 h 3442"/>
              <a:gd name="T4" fmla="*/ 2147483647 w 1746"/>
              <a:gd name="T5" fmla="*/ 2147483647 h 3442"/>
              <a:gd name="T6" fmla="*/ 2147483647 w 1746"/>
              <a:gd name="T7" fmla="*/ 2147483647 h 3442"/>
              <a:gd name="T8" fmla="*/ 2147483647 w 1746"/>
              <a:gd name="T9" fmla="*/ 2147483647 h 3442"/>
              <a:gd name="T10" fmla="*/ 2147483647 w 1746"/>
              <a:gd name="T11" fmla="*/ 2147483647 h 3442"/>
              <a:gd name="T12" fmla="*/ 2147483647 w 1746"/>
              <a:gd name="T13" fmla="*/ 2147483647 h 3442"/>
              <a:gd name="T14" fmla="*/ 2147483647 w 1746"/>
              <a:gd name="T15" fmla="*/ 2147483647 h 3442"/>
              <a:gd name="T16" fmla="*/ 2147483647 w 1746"/>
              <a:gd name="T17" fmla="*/ 2147483647 h 3442"/>
              <a:gd name="T18" fmla="*/ 2147483647 w 1746"/>
              <a:gd name="T19" fmla="*/ 2147483647 h 3442"/>
              <a:gd name="T20" fmla="*/ 2147483647 w 1746"/>
              <a:gd name="T21" fmla="*/ 2147483647 h 3442"/>
              <a:gd name="T22" fmla="*/ 2147483647 w 1746"/>
              <a:gd name="T23" fmla="*/ 2147483647 h 3442"/>
              <a:gd name="T24" fmla="*/ 2147483647 w 1746"/>
              <a:gd name="T25" fmla="*/ 2147483647 h 3442"/>
              <a:gd name="T26" fmla="*/ 2147483647 w 1746"/>
              <a:gd name="T27" fmla="*/ 2147483647 h 3442"/>
              <a:gd name="T28" fmla="*/ 2147483647 w 1746"/>
              <a:gd name="T29" fmla="*/ 2147483647 h 3442"/>
              <a:gd name="T30" fmla="*/ 2147483647 w 1746"/>
              <a:gd name="T31" fmla="*/ 2147483647 h 3442"/>
              <a:gd name="T32" fmla="*/ 2147483647 w 1746"/>
              <a:gd name="T33" fmla="*/ 2147483647 h 3442"/>
              <a:gd name="T34" fmla="*/ 2147483647 w 1746"/>
              <a:gd name="T35" fmla="*/ 2147483647 h 3442"/>
              <a:gd name="T36" fmla="*/ 2147483647 w 1746"/>
              <a:gd name="T37" fmla="*/ 2147483647 h 3442"/>
              <a:gd name="T38" fmla="*/ 0 w 1746"/>
              <a:gd name="T39" fmla="*/ 2147483647 h 3442"/>
              <a:gd name="T40" fmla="*/ 2147483647 w 1746"/>
              <a:gd name="T41" fmla="*/ 2147483647 h 3442"/>
              <a:gd name="T42" fmla="*/ 2147483647 w 1746"/>
              <a:gd name="T43" fmla="*/ 2147483647 h 3442"/>
              <a:gd name="T44" fmla="*/ 2147483647 w 1746"/>
              <a:gd name="T45" fmla="*/ 2147483647 h 3442"/>
              <a:gd name="T46" fmla="*/ 2147483647 w 1746"/>
              <a:gd name="T47" fmla="*/ 2147483647 h 3442"/>
              <a:gd name="T48" fmla="*/ 2147483647 w 1746"/>
              <a:gd name="T49" fmla="*/ 2147483647 h 3442"/>
              <a:gd name="T50" fmla="*/ 2147483647 w 1746"/>
              <a:gd name="T51" fmla="*/ 2147483647 h 3442"/>
              <a:gd name="T52" fmla="*/ 2147483647 w 1746"/>
              <a:gd name="T53" fmla="*/ 2147483647 h 3442"/>
              <a:gd name="T54" fmla="*/ 2147483647 w 1746"/>
              <a:gd name="T55" fmla="*/ 2147483647 h 3442"/>
              <a:gd name="T56" fmla="*/ 2147483647 w 1746"/>
              <a:gd name="T57" fmla="*/ 2147483647 h 3442"/>
              <a:gd name="T58" fmla="*/ 2147483647 w 1746"/>
              <a:gd name="T59" fmla="*/ 2147483647 h 3442"/>
              <a:gd name="T60" fmla="*/ 2147483647 w 1746"/>
              <a:gd name="T61" fmla="*/ 2147483647 h 3442"/>
              <a:gd name="T62" fmla="*/ 2147483647 w 1746"/>
              <a:gd name="T63" fmla="*/ 2147483647 h 3442"/>
              <a:gd name="T64" fmla="*/ 2147483647 w 1746"/>
              <a:gd name="T65" fmla="*/ 2147483647 h 3442"/>
              <a:gd name="T66" fmla="*/ 2147483647 w 1746"/>
              <a:gd name="T67" fmla="*/ 2147483647 h 3442"/>
              <a:gd name="T68" fmla="*/ 2147483647 w 1746"/>
              <a:gd name="T69" fmla="*/ 2147483647 h 3442"/>
              <a:gd name="T70" fmla="*/ 2147483647 w 1746"/>
              <a:gd name="T71" fmla="*/ 2147483647 h 3442"/>
              <a:gd name="T72" fmla="*/ 2147483647 w 1746"/>
              <a:gd name="T73" fmla="*/ 2147483647 h 3442"/>
              <a:gd name="T74" fmla="*/ 2147483647 w 1746"/>
              <a:gd name="T75" fmla="*/ 2147483647 h 3442"/>
              <a:gd name="T76" fmla="*/ 2147483647 w 1746"/>
              <a:gd name="T77" fmla="*/ 2147483647 h 3442"/>
              <a:gd name="T78" fmla="*/ 2147483647 w 1746"/>
              <a:gd name="T79" fmla="*/ 2147483647 h 3442"/>
              <a:gd name="T80" fmla="*/ 2147483647 w 1746"/>
              <a:gd name="T81" fmla="*/ 2147483647 h 3442"/>
              <a:gd name="T82" fmla="*/ 2147483647 w 1746"/>
              <a:gd name="T83" fmla="*/ 2147483647 h 3442"/>
              <a:gd name="T84" fmla="*/ 2147483647 w 1746"/>
              <a:gd name="T85" fmla="*/ 2147483647 h 3442"/>
              <a:gd name="T86" fmla="*/ 2147483647 w 1746"/>
              <a:gd name="T87" fmla="*/ 2147483647 h 3442"/>
              <a:gd name="T88" fmla="*/ 2147483647 w 1746"/>
              <a:gd name="T89" fmla="*/ 2147483647 h 3442"/>
              <a:gd name="T90" fmla="*/ 2147483647 w 1746"/>
              <a:gd name="T91" fmla="*/ 2147483647 h 3442"/>
              <a:gd name="T92" fmla="*/ 2147483647 w 1746"/>
              <a:gd name="T93" fmla="*/ 2147483647 h 3442"/>
              <a:gd name="T94" fmla="*/ 2147483647 w 1746"/>
              <a:gd name="T95" fmla="*/ 2147483647 h 3442"/>
              <a:gd name="T96" fmla="*/ 2147483647 w 1746"/>
              <a:gd name="T97" fmla="*/ 2147483647 h 3442"/>
              <a:gd name="T98" fmla="*/ 2147483647 w 1746"/>
              <a:gd name="T99" fmla="*/ 2147483647 h 3442"/>
              <a:gd name="T100" fmla="*/ 2147483647 w 1746"/>
              <a:gd name="T101" fmla="*/ 2147483647 h 3442"/>
              <a:gd name="T102" fmla="*/ 2147483647 w 1746"/>
              <a:gd name="T103" fmla="*/ 2147483647 h 3442"/>
              <a:gd name="T104" fmla="*/ 2147483647 w 1746"/>
              <a:gd name="T105" fmla="*/ 2147483647 h 3442"/>
              <a:gd name="T106" fmla="*/ 2147483647 w 1746"/>
              <a:gd name="T107" fmla="*/ 2147483647 h 3442"/>
              <a:gd name="T108" fmla="*/ 2147483647 w 1746"/>
              <a:gd name="T109" fmla="*/ 2147483647 h 3442"/>
              <a:gd name="T110" fmla="*/ 2147483647 w 1746"/>
              <a:gd name="T111" fmla="*/ 2147483647 h 3442"/>
              <a:gd name="T112" fmla="*/ 2147483647 w 1746"/>
              <a:gd name="T113" fmla="*/ 2147483647 h 3442"/>
              <a:gd name="T114" fmla="*/ 2147483647 w 1746"/>
              <a:gd name="T115" fmla="*/ 2147483647 h 3442"/>
              <a:gd name="T116" fmla="*/ 2147483647 w 1746"/>
              <a:gd name="T117" fmla="*/ 2147483647 h 3442"/>
              <a:gd name="T118" fmla="*/ 2147483647 w 1746"/>
              <a:gd name="T119" fmla="*/ 2147483647 h 34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746"/>
              <a:gd name="T181" fmla="*/ 0 h 3442"/>
              <a:gd name="T182" fmla="*/ 1746 w 1746"/>
              <a:gd name="T183" fmla="*/ 3442 h 34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746" h="3442">
                <a:moveTo>
                  <a:pt x="1746" y="1446"/>
                </a:moveTo>
                <a:lnTo>
                  <a:pt x="1746" y="1446"/>
                </a:lnTo>
                <a:lnTo>
                  <a:pt x="1746" y="1392"/>
                </a:lnTo>
                <a:lnTo>
                  <a:pt x="1746" y="1266"/>
                </a:lnTo>
                <a:lnTo>
                  <a:pt x="1744" y="1240"/>
                </a:lnTo>
                <a:lnTo>
                  <a:pt x="1738" y="1214"/>
                </a:lnTo>
                <a:lnTo>
                  <a:pt x="1714" y="1146"/>
                </a:lnTo>
                <a:lnTo>
                  <a:pt x="1706" y="1120"/>
                </a:lnTo>
                <a:lnTo>
                  <a:pt x="1702" y="1094"/>
                </a:lnTo>
                <a:lnTo>
                  <a:pt x="1694" y="1002"/>
                </a:lnTo>
                <a:lnTo>
                  <a:pt x="1688" y="948"/>
                </a:lnTo>
                <a:lnTo>
                  <a:pt x="1670" y="822"/>
                </a:lnTo>
                <a:lnTo>
                  <a:pt x="1668" y="794"/>
                </a:lnTo>
                <a:lnTo>
                  <a:pt x="1666" y="766"/>
                </a:lnTo>
                <a:lnTo>
                  <a:pt x="1666" y="738"/>
                </a:lnTo>
                <a:lnTo>
                  <a:pt x="1664" y="714"/>
                </a:lnTo>
                <a:lnTo>
                  <a:pt x="1662" y="704"/>
                </a:lnTo>
                <a:lnTo>
                  <a:pt x="1658" y="696"/>
                </a:lnTo>
                <a:lnTo>
                  <a:pt x="1648" y="686"/>
                </a:lnTo>
                <a:lnTo>
                  <a:pt x="1636" y="678"/>
                </a:lnTo>
                <a:lnTo>
                  <a:pt x="1616" y="668"/>
                </a:lnTo>
                <a:lnTo>
                  <a:pt x="1602" y="660"/>
                </a:lnTo>
                <a:lnTo>
                  <a:pt x="1582" y="652"/>
                </a:lnTo>
                <a:lnTo>
                  <a:pt x="1426" y="588"/>
                </a:lnTo>
                <a:lnTo>
                  <a:pt x="1416" y="582"/>
                </a:lnTo>
                <a:lnTo>
                  <a:pt x="1406" y="574"/>
                </a:lnTo>
                <a:lnTo>
                  <a:pt x="1398" y="564"/>
                </a:lnTo>
                <a:lnTo>
                  <a:pt x="1394" y="554"/>
                </a:lnTo>
                <a:lnTo>
                  <a:pt x="1392" y="542"/>
                </a:lnTo>
                <a:lnTo>
                  <a:pt x="1394" y="532"/>
                </a:lnTo>
                <a:lnTo>
                  <a:pt x="1396" y="524"/>
                </a:lnTo>
                <a:lnTo>
                  <a:pt x="1402" y="516"/>
                </a:lnTo>
                <a:lnTo>
                  <a:pt x="1416" y="500"/>
                </a:lnTo>
                <a:lnTo>
                  <a:pt x="1430" y="480"/>
                </a:lnTo>
                <a:lnTo>
                  <a:pt x="1442" y="458"/>
                </a:lnTo>
                <a:lnTo>
                  <a:pt x="1448" y="446"/>
                </a:lnTo>
                <a:lnTo>
                  <a:pt x="1452" y="432"/>
                </a:lnTo>
                <a:lnTo>
                  <a:pt x="1456" y="418"/>
                </a:lnTo>
                <a:lnTo>
                  <a:pt x="1460" y="406"/>
                </a:lnTo>
                <a:lnTo>
                  <a:pt x="1468" y="340"/>
                </a:lnTo>
                <a:lnTo>
                  <a:pt x="1470" y="312"/>
                </a:lnTo>
                <a:lnTo>
                  <a:pt x="1472" y="286"/>
                </a:lnTo>
                <a:lnTo>
                  <a:pt x="1472" y="266"/>
                </a:lnTo>
                <a:lnTo>
                  <a:pt x="1470" y="244"/>
                </a:lnTo>
                <a:lnTo>
                  <a:pt x="1466" y="234"/>
                </a:lnTo>
                <a:lnTo>
                  <a:pt x="1464" y="228"/>
                </a:lnTo>
                <a:lnTo>
                  <a:pt x="1456" y="214"/>
                </a:lnTo>
                <a:lnTo>
                  <a:pt x="1448" y="198"/>
                </a:lnTo>
                <a:lnTo>
                  <a:pt x="1440" y="182"/>
                </a:lnTo>
                <a:lnTo>
                  <a:pt x="1430" y="168"/>
                </a:lnTo>
                <a:lnTo>
                  <a:pt x="1416" y="156"/>
                </a:lnTo>
                <a:lnTo>
                  <a:pt x="1402" y="148"/>
                </a:lnTo>
                <a:lnTo>
                  <a:pt x="1366" y="138"/>
                </a:lnTo>
                <a:lnTo>
                  <a:pt x="1356" y="136"/>
                </a:lnTo>
                <a:lnTo>
                  <a:pt x="1344" y="136"/>
                </a:lnTo>
                <a:lnTo>
                  <a:pt x="1332" y="140"/>
                </a:lnTo>
                <a:lnTo>
                  <a:pt x="1320" y="142"/>
                </a:lnTo>
                <a:lnTo>
                  <a:pt x="1316" y="144"/>
                </a:lnTo>
                <a:lnTo>
                  <a:pt x="1266" y="168"/>
                </a:lnTo>
                <a:lnTo>
                  <a:pt x="1246" y="178"/>
                </a:lnTo>
                <a:lnTo>
                  <a:pt x="1236" y="184"/>
                </a:lnTo>
                <a:lnTo>
                  <a:pt x="1226" y="192"/>
                </a:lnTo>
                <a:lnTo>
                  <a:pt x="1218" y="202"/>
                </a:lnTo>
                <a:lnTo>
                  <a:pt x="1214" y="210"/>
                </a:lnTo>
                <a:lnTo>
                  <a:pt x="1196" y="254"/>
                </a:lnTo>
                <a:lnTo>
                  <a:pt x="1188" y="274"/>
                </a:lnTo>
                <a:lnTo>
                  <a:pt x="1180" y="294"/>
                </a:lnTo>
                <a:lnTo>
                  <a:pt x="1176" y="298"/>
                </a:lnTo>
                <a:lnTo>
                  <a:pt x="1174" y="300"/>
                </a:lnTo>
                <a:lnTo>
                  <a:pt x="1168" y="302"/>
                </a:lnTo>
                <a:lnTo>
                  <a:pt x="1166" y="306"/>
                </a:lnTo>
                <a:lnTo>
                  <a:pt x="1164" y="316"/>
                </a:lnTo>
                <a:lnTo>
                  <a:pt x="1160" y="330"/>
                </a:lnTo>
                <a:lnTo>
                  <a:pt x="1156" y="340"/>
                </a:lnTo>
                <a:lnTo>
                  <a:pt x="1156" y="348"/>
                </a:lnTo>
                <a:lnTo>
                  <a:pt x="1156" y="358"/>
                </a:lnTo>
                <a:lnTo>
                  <a:pt x="1160" y="368"/>
                </a:lnTo>
                <a:lnTo>
                  <a:pt x="1164" y="382"/>
                </a:lnTo>
                <a:lnTo>
                  <a:pt x="1166" y="392"/>
                </a:lnTo>
                <a:lnTo>
                  <a:pt x="1168" y="392"/>
                </a:lnTo>
                <a:lnTo>
                  <a:pt x="1170" y="394"/>
                </a:lnTo>
                <a:lnTo>
                  <a:pt x="1180" y="392"/>
                </a:lnTo>
                <a:lnTo>
                  <a:pt x="1186" y="390"/>
                </a:lnTo>
                <a:lnTo>
                  <a:pt x="1190" y="396"/>
                </a:lnTo>
                <a:lnTo>
                  <a:pt x="1192" y="402"/>
                </a:lnTo>
                <a:lnTo>
                  <a:pt x="1194" y="412"/>
                </a:lnTo>
                <a:lnTo>
                  <a:pt x="1194" y="440"/>
                </a:lnTo>
                <a:lnTo>
                  <a:pt x="1192" y="452"/>
                </a:lnTo>
                <a:lnTo>
                  <a:pt x="1190" y="464"/>
                </a:lnTo>
                <a:lnTo>
                  <a:pt x="1186" y="476"/>
                </a:lnTo>
                <a:lnTo>
                  <a:pt x="1180" y="486"/>
                </a:lnTo>
                <a:lnTo>
                  <a:pt x="1152" y="522"/>
                </a:lnTo>
                <a:lnTo>
                  <a:pt x="1136" y="540"/>
                </a:lnTo>
                <a:lnTo>
                  <a:pt x="1114" y="556"/>
                </a:lnTo>
                <a:lnTo>
                  <a:pt x="1106" y="562"/>
                </a:lnTo>
                <a:lnTo>
                  <a:pt x="1082" y="576"/>
                </a:lnTo>
                <a:lnTo>
                  <a:pt x="1056" y="586"/>
                </a:lnTo>
                <a:lnTo>
                  <a:pt x="970" y="616"/>
                </a:lnTo>
                <a:lnTo>
                  <a:pt x="958" y="618"/>
                </a:lnTo>
                <a:lnTo>
                  <a:pt x="944" y="620"/>
                </a:lnTo>
                <a:lnTo>
                  <a:pt x="930" y="618"/>
                </a:lnTo>
                <a:lnTo>
                  <a:pt x="918" y="614"/>
                </a:lnTo>
                <a:lnTo>
                  <a:pt x="844" y="578"/>
                </a:lnTo>
                <a:lnTo>
                  <a:pt x="794" y="554"/>
                </a:lnTo>
                <a:lnTo>
                  <a:pt x="732" y="528"/>
                </a:lnTo>
                <a:lnTo>
                  <a:pt x="708" y="518"/>
                </a:lnTo>
                <a:lnTo>
                  <a:pt x="680" y="510"/>
                </a:lnTo>
                <a:lnTo>
                  <a:pt x="632" y="498"/>
                </a:lnTo>
                <a:lnTo>
                  <a:pt x="622" y="494"/>
                </a:lnTo>
                <a:lnTo>
                  <a:pt x="612" y="488"/>
                </a:lnTo>
                <a:lnTo>
                  <a:pt x="604" y="478"/>
                </a:lnTo>
                <a:lnTo>
                  <a:pt x="598" y="468"/>
                </a:lnTo>
                <a:lnTo>
                  <a:pt x="586" y="450"/>
                </a:lnTo>
                <a:lnTo>
                  <a:pt x="578" y="440"/>
                </a:lnTo>
                <a:lnTo>
                  <a:pt x="574" y="434"/>
                </a:lnTo>
                <a:lnTo>
                  <a:pt x="572" y="426"/>
                </a:lnTo>
                <a:lnTo>
                  <a:pt x="570" y="406"/>
                </a:lnTo>
                <a:lnTo>
                  <a:pt x="570" y="340"/>
                </a:lnTo>
                <a:lnTo>
                  <a:pt x="572" y="328"/>
                </a:lnTo>
                <a:lnTo>
                  <a:pt x="574" y="314"/>
                </a:lnTo>
                <a:lnTo>
                  <a:pt x="578" y="300"/>
                </a:lnTo>
                <a:lnTo>
                  <a:pt x="584" y="288"/>
                </a:lnTo>
                <a:lnTo>
                  <a:pt x="588" y="278"/>
                </a:lnTo>
                <a:lnTo>
                  <a:pt x="594" y="264"/>
                </a:lnTo>
                <a:lnTo>
                  <a:pt x="596" y="252"/>
                </a:lnTo>
                <a:lnTo>
                  <a:pt x="596" y="240"/>
                </a:lnTo>
                <a:lnTo>
                  <a:pt x="596" y="210"/>
                </a:lnTo>
                <a:lnTo>
                  <a:pt x="596" y="206"/>
                </a:lnTo>
                <a:lnTo>
                  <a:pt x="594" y="204"/>
                </a:lnTo>
                <a:lnTo>
                  <a:pt x="584" y="196"/>
                </a:lnTo>
                <a:lnTo>
                  <a:pt x="578" y="192"/>
                </a:lnTo>
                <a:lnTo>
                  <a:pt x="572" y="184"/>
                </a:lnTo>
                <a:lnTo>
                  <a:pt x="568" y="176"/>
                </a:lnTo>
                <a:lnTo>
                  <a:pt x="566" y="164"/>
                </a:lnTo>
                <a:lnTo>
                  <a:pt x="560" y="146"/>
                </a:lnTo>
                <a:lnTo>
                  <a:pt x="548" y="94"/>
                </a:lnTo>
                <a:lnTo>
                  <a:pt x="540" y="72"/>
                </a:lnTo>
                <a:lnTo>
                  <a:pt x="528" y="52"/>
                </a:lnTo>
                <a:lnTo>
                  <a:pt x="516" y="38"/>
                </a:lnTo>
                <a:lnTo>
                  <a:pt x="510" y="34"/>
                </a:lnTo>
                <a:lnTo>
                  <a:pt x="506" y="34"/>
                </a:lnTo>
                <a:lnTo>
                  <a:pt x="498" y="32"/>
                </a:lnTo>
                <a:lnTo>
                  <a:pt x="486" y="28"/>
                </a:lnTo>
                <a:lnTo>
                  <a:pt x="476" y="24"/>
                </a:lnTo>
                <a:lnTo>
                  <a:pt x="466" y="22"/>
                </a:lnTo>
                <a:lnTo>
                  <a:pt x="454" y="20"/>
                </a:lnTo>
                <a:lnTo>
                  <a:pt x="438" y="10"/>
                </a:lnTo>
                <a:lnTo>
                  <a:pt x="428" y="6"/>
                </a:lnTo>
                <a:lnTo>
                  <a:pt x="416" y="2"/>
                </a:lnTo>
                <a:lnTo>
                  <a:pt x="404" y="0"/>
                </a:lnTo>
                <a:lnTo>
                  <a:pt x="390" y="0"/>
                </a:lnTo>
                <a:lnTo>
                  <a:pt x="388" y="0"/>
                </a:lnTo>
                <a:lnTo>
                  <a:pt x="348" y="0"/>
                </a:lnTo>
                <a:lnTo>
                  <a:pt x="332" y="2"/>
                </a:lnTo>
                <a:lnTo>
                  <a:pt x="314" y="10"/>
                </a:lnTo>
                <a:lnTo>
                  <a:pt x="292" y="24"/>
                </a:lnTo>
                <a:lnTo>
                  <a:pt x="272" y="40"/>
                </a:lnTo>
                <a:lnTo>
                  <a:pt x="252" y="58"/>
                </a:lnTo>
                <a:lnTo>
                  <a:pt x="238" y="76"/>
                </a:lnTo>
                <a:lnTo>
                  <a:pt x="228" y="94"/>
                </a:lnTo>
                <a:lnTo>
                  <a:pt x="226" y="100"/>
                </a:lnTo>
                <a:lnTo>
                  <a:pt x="224" y="106"/>
                </a:lnTo>
                <a:lnTo>
                  <a:pt x="222" y="120"/>
                </a:lnTo>
                <a:lnTo>
                  <a:pt x="216" y="136"/>
                </a:lnTo>
                <a:lnTo>
                  <a:pt x="214" y="146"/>
                </a:lnTo>
                <a:lnTo>
                  <a:pt x="212" y="158"/>
                </a:lnTo>
                <a:lnTo>
                  <a:pt x="212" y="170"/>
                </a:lnTo>
                <a:lnTo>
                  <a:pt x="214" y="182"/>
                </a:lnTo>
                <a:lnTo>
                  <a:pt x="220" y="224"/>
                </a:lnTo>
                <a:lnTo>
                  <a:pt x="224" y="250"/>
                </a:lnTo>
                <a:lnTo>
                  <a:pt x="224" y="276"/>
                </a:lnTo>
                <a:lnTo>
                  <a:pt x="226" y="298"/>
                </a:lnTo>
                <a:lnTo>
                  <a:pt x="230" y="318"/>
                </a:lnTo>
                <a:lnTo>
                  <a:pt x="240" y="334"/>
                </a:lnTo>
                <a:lnTo>
                  <a:pt x="250" y="348"/>
                </a:lnTo>
                <a:lnTo>
                  <a:pt x="262" y="362"/>
                </a:lnTo>
                <a:lnTo>
                  <a:pt x="272" y="378"/>
                </a:lnTo>
                <a:lnTo>
                  <a:pt x="282" y="398"/>
                </a:lnTo>
                <a:lnTo>
                  <a:pt x="298" y="418"/>
                </a:lnTo>
                <a:lnTo>
                  <a:pt x="304" y="424"/>
                </a:lnTo>
                <a:lnTo>
                  <a:pt x="310" y="434"/>
                </a:lnTo>
                <a:lnTo>
                  <a:pt x="316" y="446"/>
                </a:lnTo>
                <a:lnTo>
                  <a:pt x="320" y="460"/>
                </a:lnTo>
                <a:lnTo>
                  <a:pt x="322" y="472"/>
                </a:lnTo>
                <a:lnTo>
                  <a:pt x="322" y="502"/>
                </a:lnTo>
                <a:lnTo>
                  <a:pt x="320" y="526"/>
                </a:lnTo>
                <a:lnTo>
                  <a:pt x="318" y="538"/>
                </a:lnTo>
                <a:lnTo>
                  <a:pt x="314" y="548"/>
                </a:lnTo>
                <a:lnTo>
                  <a:pt x="308" y="556"/>
                </a:lnTo>
                <a:lnTo>
                  <a:pt x="300" y="564"/>
                </a:lnTo>
                <a:lnTo>
                  <a:pt x="292" y="570"/>
                </a:lnTo>
                <a:lnTo>
                  <a:pt x="280" y="576"/>
                </a:lnTo>
                <a:lnTo>
                  <a:pt x="220" y="602"/>
                </a:lnTo>
                <a:lnTo>
                  <a:pt x="200" y="610"/>
                </a:lnTo>
                <a:lnTo>
                  <a:pt x="190" y="614"/>
                </a:lnTo>
                <a:lnTo>
                  <a:pt x="178" y="618"/>
                </a:lnTo>
                <a:lnTo>
                  <a:pt x="160" y="628"/>
                </a:lnTo>
                <a:lnTo>
                  <a:pt x="150" y="634"/>
                </a:lnTo>
                <a:lnTo>
                  <a:pt x="128" y="652"/>
                </a:lnTo>
                <a:lnTo>
                  <a:pt x="110" y="670"/>
                </a:lnTo>
                <a:lnTo>
                  <a:pt x="104" y="678"/>
                </a:lnTo>
                <a:lnTo>
                  <a:pt x="86" y="696"/>
                </a:lnTo>
                <a:lnTo>
                  <a:pt x="70" y="710"/>
                </a:lnTo>
                <a:lnTo>
                  <a:pt x="66" y="716"/>
                </a:lnTo>
                <a:lnTo>
                  <a:pt x="60" y="724"/>
                </a:lnTo>
                <a:lnTo>
                  <a:pt x="58" y="732"/>
                </a:lnTo>
                <a:lnTo>
                  <a:pt x="56" y="740"/>
                </a:lnTo>
                <a:lnTo>
                  <a:pt x="56" y="786"/>
                </a:lnTo>
                <a:lnTo>
                  <a:pt x="56" y="802"/>
                </a:lnTo>
                <a:lnTo>
                  <a:pt x="58" y="858"/>
                </a:lnTo>
                <a:lnTo>
                  <a:pt x="70" y="958"/>
                </a:lnTo>
                <a:lnTo>
                  <a:pt x="70" y="986"/>
                </a:lnTo>
                <a:lnTo>
                  <a:pt x="68" y="1014"/>
                </a:lnTo>
                <a:lnTo>
                  <a:pt x="48" y="1116"/>
                </a:lnTo>
                <a:lnTo>
                  <a:pt x="38" y="1170"/>
                </a:lnTo>
                <a:lnTo>
                  <a:pt x="6" y="1344"/>
                </a:lnTo>
                <a:lnTo>
                  <a:pt x="2" y="1370"/>
                </a:lnTo>
                <a:lnTo>
                  <a:pt x="0" y="1396"/>
                </a:lnTo>
                <a:lnTo>
                  <a:pt x="0" y="1444"/>
                </a:lnTo>
                <a:lnTo>
                  <a:pt x="2" y="1470"/>
                </a:lnTo>
                <a:lnTo>
                  <a:pt x="8" y="1494"/>
                </a:lnTo>
                <a:lnTo>
                  <a:pt x="16" y="1518"/>
                </a:lnTo>
                <a:lnTo>
                  <a:pt x="28" y="1542"/>
                </a:lnTo>
                <a:lnTo>
                  <a:pt x="30" y="1542"/>
                </a:lnTo>
                <a:lnTo>
                  <a:pt x="60" y="1588"/>
                </a:lnTo>
                <a:lnTo>
                  <a:pt x="70" y="1602"/>
                </a:lnTo>
                <a:lnTo>
                  <a:pt x="76" y="1614"/>
                </a:lnTo>
                <a:lnTo>
                  <a:pt x="82" y="1626"/>
                </a:lnTo>
                <a:lnTo>
                  <a:pt x="88" y="1640"/>
                </a:lnTo>
                <a:lnTo>
                  <a:pt x="90" y="1652"/>
                </a:lnTo>
                <a:lnTo>
                  <a:pt x="92" y="1660"/>
                </a:lnTo>
                <a:lnTo>
                  <a:pt x="96" y="1688"/>
                </a:lnTo>
                <a:lnTo>
                  <a:pt x="98" y="1714"/>
                </a:lnTo>
                <a:lnTo>
                  <a:pt x="98" y="1804"/>
                </a:lnTo>
                <a:lnTo>
                  <a:pt x="100" y="1830"/>
                </a:lnTo>
                <a:lnTo>
                  <a:pt x="104" y="1858"/>
                </a:lnTo>
                <a:lnTo>
                  <a:pt x="120" y="1924"/>
                </a:lnTo>
                <a:lnTo>
                  <a:pt x="132" y="1978"/>
                </a:lnTo>
                <a:lnTo>
                  <a:pt x="136" y="1996"/>
                </a:lnTo>
                <a:lnTo>
                  <a:pt x="138" y="2022"/>
                </a:lnTo>
                <a:lnTo>
                  <a:pt x="140" y="2050"/>
                </a:lnTo>
                <a:lnTo>
                  <a:pt x="140" y="2056"/>
                </a:lnTo>
                <a:lnTo>
                  <a:pt x="140" y="2102"/>
                </a:lnTo>
                <a:lnTo>
                  <a:pt x="142" y="2124"/>
                </a:lnTo>
                <a:lnTo>
                  <a:pt x="144" y="2148"/>
                </a:lnTo>
                <a:lnTo>
                  <a:pt x="164" y="2262"/>
                </a:lnTo>
                <a:lnTo>
                  <a:pt x="172" y="2318"/>
                </a:lnTo>
                <a:lnTo>
                  <a:pt x="180" y="2418"/>
                </a:lnTo>
                <a:lnTo>
                  <a:pt x="184" y="2472"/>
                </a:lnTo>
                <a:lnTo>
                  <a:pt x="194" y="2660"/>
                </a:lnTo>
                <a:lnTo>
                  <a:pt x="198" y="2686"/>
                </a:lnTo>
                <a:lnTo>
                  <a:pt x="206" y="2712"/>
                </a:lnTo>
                <a:lnTo>
                  <a:pt x="254" y="2842"/>
                </a:lnTo>
                <a:lnTo>
                  <a:pt x="256" y="2854"/>
                </a:lnTo>
                <a:lnTo>
                  <a:pt x="258" y="2868"/>
                </a:lnTo>
                <a:lnTo>
                  <a:pt x="256" y="2880"/>
                </a:lnTo>
                <a:lnTo>
                  <a:pt x="254" y="2892"/>
                </a:lnTo>
                <a:lnTo>
                  <a:pt x="234" y="2938"/>
                </a:lnTo>
                <a:lnTo>
                  <a:pt x="222" y="2962"/>
                </a:lnTo>
                <a:lnTo>
                  <a:pt x="206" y="2984"/>
                </a:lnTo>
                <a:lnTo>
                  <a:pt x="200" y="2990"/>
                </a:lnTo>
                <a:lnTo>
                  <a:pt x="194" y="3000"/>
                </a:lnTo>
                <a:lnTo>
                  <a:pt x="188" y="3014"/>
                </a:lnTo>
                <a:lnTo>
                  <a:pt x="184" y="3026"/>
                </a:lnTo>
                <a:lnTo>
                  <a:pt x="182" y="3038"/>
                </a:lnTo>
                <a:lnTo>
                  <a:pt x="182" y="3094"/>
                </a:lnTo>
                <a:lnTo>
                  <a:pt x="184" y="3104"/>
                </a:lnTo>
                <a:lnTo>
                  <a:pt x="190" y="3114"/>
                </a:lnTo>
                <a:lnTo>
                  <a:pt x="200" y="3120"/>
                </a:lnTo>
                <a:lnTo>
                  <a:pt x="210" y="3124"/>
                </a:lnTo>
                <a:lnTo>
                  <a:pt x="252" y="3128"/>
                </a:lnTo>
                <a:lnTo>
                  <a:pt x="264" y="3128"/>
                </a:lnTo>
                <a:lnTo>
                  <a:pt x="278" y="3126"/>
                </a:lnTo>
                <a:lnTo>
                  <a:pt x="290" y="3120"/>
                </a:lnTo>
                <a:lnTo>
                  <a:pt x="300" y="3114"/>
                </a:lnTo>
                <a:lnTo>
                  <a:pt x="314" y="3102"/>
                </a:lnTo>
                <a:lnTo>
                  <a:pt x="348" y="3072"/>
                </a:lnTo>
                <a:lnTo>
                  <a:pt x="360" y="3060"/>
                </a:lnTo>
                <a:lnTo>
                  <a:pt x="368" y="3048"/>
                </a:lnTo>
                <a:lnTo>
                  <a:pt x="372" y="3042"/>
                </a:lnTo>
                <a:lnTo>
                  <a:pt x="374" y="3034"/>
                </a:lnTo>
                <a:lnTo>
                  <a:pt x="376" y="3018"/>
                </a:lnTo>
                <a:lnTo>
                  <a:pt x="378" y="3000"/>
                </a:lnTo>
                <a:lnTo>
                  <a:pt x="384" y="2982"/>
                </a:lnTo>
                <a:lnTo>
                  <a:pt x="390" y="2968"/>
                </a:lnTo>
                <a:lnTo>
                  <a:pt x="394" y="2964"/>
                </a:lnTo>
                <a:lnTo>
                  <a:pt x="396" y="2964"/>
                </a:lnTo>
                <a:lnTo>
                  <a:pt x="406" y="2958"/>
                </a:lnTo>
                <a:lnTo>
                  <a:pt x="424" y="2946"/>
                </a:lnTo>
                <a:lnTo>
                  <a:pt x="424" y="2944"/>
                </a:lnTo>
                <a:lnTo>
                  <a:pt x="432" y="2936"/>
                </a:lnTo>
                <a:lnTo>
                  <a:pt x="440" y="2926"/>
                </a:lnTo>
                <a:lnTo>
                  <a:pt x="448" y="2914"/>
                </a:lnTo>
                <a:lnTo>
                  <a:pt x="452" y="2902"/>
                </a:lnTo>
                <a:lnTo>
                  <a:pt x="454" y="2892"/>
                </a:lnTo>
                <a:lnTo>
                  <a:pt x="452" y="2878"/>
                </a:lnTo>
                <a:lnTo>
                  <a:pt x="450" y="2866"/>
                </a:lnTo>
                <a:lnTo>
                  <a:pt x="446" y="2854"/>
                </a:lnTo>
                <a:lnTo>
                  <a:pt x="442" y="2844"/>
                </a:lnTo>
                <a:lnTo>
                  <a:pt x="438" y="2832"/>
                </a:lnTo>
                <a:lnTo>
                  <a:pt x="434" y="2818"/>
                </a:lnTo>
                <a:lnTo>
                  <a:pt x="432" y="2804"/>
                </a:lnTo>
                <a:lnTo>
                  <a:pt x="432" y="2792"/>
                </a:lnTo>
                <a:lnTo>
                  <a:pt x="432" y="2762"/>
                </a:lnTo>
                <a:lnTo>
                  <a:pt x="432" y="2708"/>
                </a:lnTo>
                <a:lnTo>
                  <a:pt x="432" y="2700"/>
                </a:lnTo>
                <a:lnTo>
                  <a:pt x="430" y="2674"/>
                </a:lnTo>
                <a:lnTo>
                  <a:pt x="424" y="2646"/>
                </a:lnTo>
                <a:lnTo>
                  <a:pt x="410" y="2592"/>
                </a:lnTo>
                <a:lnTo>
                  <a:pt x="404" y="2566"/>
                </a:lnTo>
                <a:lnTo>
                  <a:pt x="402" y="2538"/>
                </a:lnTo>
                <a:lnTo>
                  <a:pt x="402" y="2472"/>
                </a:lnTo>
                <a:lnTo>
                  <a:pt x="400" y="2418"/>
                </a:lnTo>
                <a:lnTo>
                  <a:pt x="392" y="2304"/>
                </a:lnTo>
                <a:lnTo>
                  <a:pt x="392" y="2276"/>
                </a:lnTo>
                <a:lnTo>
                  <a:pt x="396" y="2250"/>
                </a:lnTo>
                <a:lnTo>
                  <a:pt x="412" y="2160"/>
                </a:lnTo>
                <a:lnTo>
                  <a:pt x="416" y="2132"/>
                </a:lnTo>
                <a:lnTo>
                  <a:pt x="418" y="2104"/>
                </a:lnTo>
                <a:lnTo>
                  <a:pt x="418" y="2038"/>
                </a:lnTo>
                <a:lnTo>
                  <a:pt x="418" y="1984"/>
                </a:lnTo>
                <a:lnTo>
                  <a:pt x="418" y="1980"/>
                </a:lnTo>
                <a:lnTo>
                  <a:pt x="420" y="1956"/>
                </a:lnTo>
                <a:lnTo>
                  <a:pt x="422" y="1946"/>
                </a:lnTo>
                <a:lnTo>
                  <a:pt x="426" y="1938"/>
                </a:lnTo>
                <a:lnTo>
                  <a:pt x="428" y="1936"/>
                </a:lnTo>
                <a:lnTo>
                  <a:pt x="432" y="1934"/>
                </a:lnTo>
                <a:lnTo>
                  <a:pt x="436" y="1936"/>
                </a:lnTo>
                <a:lnTo>
                  <a:pt x="438" y="1938"/>
                </a:lnTo>
                <a:lnTo>
                  <a:pt x="446" y="1956"/>
                </a:lnTo>
                <a:lnTo>
                  <a:pt x="454" y="1978"/>
                </a:lnTo>
                <a:lnTo>
                  <a:pt x="492" y="2094"/>
                </a:lnTo>
                <a:lnTo>
                  <a:pt x="506" y="2144"/>
                </a:lnTo>
                <a:lnTo>
                  <a:pt x="512" y="2166"/>
                </a:lnTo>
                <a:lnTo>
                  <a:pt x="514" y="2186"/>
                </a:lnTo>
                <a:lnTo>
                  <a:pt x="514" y="2216"/>
                </a:lnTo>
                <a:lnTo>
                  <a:pt x="514" y="2256"/>
                </a:lnTo>
                <a:lnTo>
                  <a:pt x="514" y="2564"/>
                </a:lnTo>
                <a:lnTo>
                  <a:pt x="514" y="2618"/>
                </a:lnTo>
                <a:lnTo>
                  <a:pt x="514" y="2730"/>
                </a:lnTo>
                <a:lnTo>
                  <a:pt x="514" y="2758"/>
                </a:lnTo>
                <a:lnTo>
                  <a:pt x="518" y="2784"/>
                </a:lnTo>
                <a:lnTo>
                  <a:pt x="538" y="2924"/>
                </a:lnTo>
                <a:lnTo>
                  <a:pt x="546" y="2978"/>
                </a:lnTo>
                <a:lnTo>
                  <a:pt x="550" y="3010"/>
                </a:lnTo>
                <a:lnTo>
                  <a:pt x="556" y="3032"/>
                </a:lnTo>
                <a:lnTo>
                  <a:pt x="562" y="3048"/>
                </a:lnTo>
                <a:lnTo>
                  <a:pt x="578" y="3072"/>
                </a:lnTo>
                <a:lnTo>
                  <a:pt x="580" y="3076"/>
                </a:lnTo>
                <a:lnTo>
                  <a:pt x="580" y="3082"/>
                </a:lnTo>
                <a:lnTo>
                  <a:pt x="580" y="3086"/>
                </a:lnTo>
                <a:lnTo>
                  <a:pt x="578" y="3090"/>
                </a:lnTo>
                <a:lnTo>
                  <a:pt x="574" y="3094"/>
                </a:lnTo>
                <a:lnTo>
                  <a:pt x="572" y="3100"/>
                </a:lnTo>
                <a:lnTo>
                  <a:pt x="570" y="3114"/>
                </a:lnTo>
                <a:lnTo>
                  <a:pt x="570" y="3144"/>
                </a:lnTo>
                <a:lnTo>
                  <a:pt x="570" y="3168"/>
                </a:lnTo>
                <a:lnTo>
                  <a:pt x="572" y="3174"/>
                </a:lnTo>
                <a:lnTo>
                  <a:pt x="576" y="3182"/>
                </a:lnTo>
                <a:lnTo>
                  <a:pt x="588" y="3202"/>
                </a:lnTo>
                <a:lnTo>
                  <a:pt x="592" y="3206"/>
                </a:lnTo>
                <a:lnTo>
                  <a:pt x="600" y="3214"/>
                </a:lnTo>
                <a:lnTo>
                  <a:pt x="610" y="3222"/>
                </a:lnTo>
                <a:lnTo>
                  <a:pt x="618" y="3226"/>
                </a:lnTo>
                <a:lnTo>
                  <a:pt x="624" y="3228"/>
                </a:lnTo>
                <a:lnTo>
                  <a:pt x="630" y="3230"/>
                </a:lnTo>
                <a:lnTo>
                  <a:pt x="634" y="3236"/>
                </a:lnTo>
                <a:lnTo>
                  <a:pt x="638" y="3244"/>
                </a:lnTo>
                <a:lnTo>
                  <a:pt x="638" y="3256"/>
                </a:lnTo>
                <a:lnTo>
                  <a:pt x="638" y="3262"/>
                </a:lnTo>
                <a:lnTo>
                  <a:pt x="638" y="3308"/>
                </a:lnTo>
                <a:lnTo>
                  <a:pt x="640" y="3324"/>
                </a:lnTo>
                <a:lnTo>
                  <a:pt x="646" y="3338"/>
                </a:lnTo>
                <a:lnTo>
                  <a:pt x="666" y="3368"/>
                </a:lnTo>
                <a:lnTo>
                  <a:pt x="682" y="3386"/>
                </a:lnTo>
                <a:lnTo>
                  <a:pt x="702" y="3404"/>
                </a:lnTo>
                <a:lnTo>
                  <a:pt x="716" y="3416"/>
                </a:lnTo>
                <a:lnTo>
                  <a:pt x="742" y="3440"/>
                </a:lnTo>
                <a:lnTo>
                  <a:pt x="748" y="3442"/>
                </a:lnTo>
                <a:lnTo>
                  <a:pt x="756" y="3442"/>
                </a:lnTo>
                <a:lnTo>
                  <a:pt x="776" y="3442"/>
                </a:lnTo>
                <a:lnTo>
                  <a:pt x="848" y="3436"/>
                </a:lnTo>
                <a:lnTo>
                  <a:pt x="858" y="3434"/>
                </a:lnTo>
                <a:lnTo>
                  <a:pt x="868" y="3426"/>
                </a:lnTo>
                <a:lnTo>
                  <a:pt x="874" y="3418"/>
                </a:lnTo>
                <a:lnTo>
                  <a:pt x="876" y="3406"/>
                </a:lnTo>
                <a:lnTo>
                  <a:pt x="876" y="3354"/>
                </a:lnTo>
                <a:lnTo>
                  <a:pt x="874" y="3342"/>
                </a:lnTo>
                <a:lnTo>
                  <a:pt x="872" y="3328"/>
                </a:lnTo>
                <a:lnTo>
                  <a:pt x="866" y="3318"/>
                </a:lnTo>
                <a:lnTo>
                  <a:pt x="862" y="3308"/>
                </a:lnTo>
                <a:lnTo>
                  <a:pt x="848" y="3288"/>
                </a:lnTo>
                <a:lnTo>
                  <a:pt x="836" y="3264"/>
                </a:lnTo>
                <a:lnTo>
                  <a:pt x="802" y="3194"/>
                </a:lnTo>
                <a:lnTo>
                  <a:pt x="792" y="3170"/>
                </a:lnTo>
                <a:lnTo>
                  <a:pt x="784" y="3144"/>
                </a:lnTo>
                <a:lnTo>
                  <a:pt x="782" y="3134"/>
                </a:lnTo>
                <a:lnTo>
                  <a:pt x="782" y="3120"/>
                </a:lnTo>
                <a:lnTo>
                  <a:pt x="782" y="3106"/>
                </a:lnTo>
                <a:lnTo>
                  <a:pt x="782" y="3094"/>
                </a:lnTo>
                <a:lnTo>
                  <a:pt x="788" y="3064"/>
                </a:lnTo>
                <a:lnTo>
                  <a:pt x="790" y="3036"/>
                </a:lnTo>
                <a:lnTo>
                  <a:pt x="792" y="3010"/>
                </a:lnTo>
                <a:lnTo>
                  <a:pt x="792" y="2932"/>
                </a:lnTo>
                <a:lnTo>
                  <a:pt x="792" y="2904"/>
                </a:lnTo>
                <a:lnTo>
                  <a:pt x="796" y="2876"/>
                </a:lnTo>
                <a:lnTo>
                  <a:pt x="816" y="2750"/>
                </a:lnTo>
                <a:lnTo>
                  <a:pt x="818" y="2724"/>
                </a:lnTo>
                <a:lnTo>
                  <a:pt x="816" y="2696"/>
                </a:lnTo>
                <a:lnTo>
                  <a:pt x="796" y="2594"/>
                </a:lnTo>
                <a:lnTo>
                  <a:pt x="792" y="2566"/>
                </a:lnTo>
                <a:lnTo>
                  <a:pt x="792" y="2538"/>
                </a:lnTo>
                <a:lnTo>
                  <a:pt x="792" y="2462"/>
                </a:lnTo>
                <a:lnTo>
                  <a:pt x="790" y="2406"/>
                </a:lnTo>
                <a:lnTo>
                  <a:pt x="780" y="2280"/>
                </a:lnTo>
                <a:lnTo>
                  <a:pt x="780" y="2254"/>
                </a:lnTo>
                <a:lnTo>
                  <a:pt x="782" y="2226"/>
                </a:lnTo>
                <a:lnTo>
                  <a:pt x="788" y="2196"/>
                </a:lnTo>
                <a:lnTo>
                  <a:pt x="794" y="2142"/>
                </a:lnTo>
                <a:lnTo>
                  <a:pt x="800" y="2086"/>
                </a:lnTo>
                <a:lnTo>
                  <a:pt x="804" y="2060"/>
                </a:lnTo>
                <a:lnTo>
                  <a:pt x="804" y="2032"/>
                </a:lnTo>
                <a:lnTo>
                  <a:pt x="804" y="1894"/>
                </a:lnTo>
                <a:lnTo>
                  <a:pt x="804" y="1868"/>
                </a:lnTo>
                <a:lnTo>
                  <a:pt x="800" y="1840"/>
                </a:lnTo>
                <a:lnTo>
                  <a:pt x="794" y="1784"/>
                </a:lnTo>
                <a:lnTo>
                  <a:pt x="790" y="1758"/>
                </a:lnTo>
                <a:lnTo>
                  <a:pt x="782" y="1732"/>
                </a:lnTo>
                <a:lnTo>
                  <a:pt x="772" y="1700"/>
                </a:lnTo>
                <a:lnTo>
                  <a:pt x="764" y="1678"/>
                </a:lnTo>
                <a:lnTo>
                  <a:pt x="762" y="1662"/>
                </a:lnTo>
                <a:lnTo>
                  <a:pt x="764" y="1656"/>
                </a:lnTo>
                <a:lnTo>
                  <a:pt x="766" y="1650"/>
                </a:lnTo>
                <a:lnTo>
                  <a:pt x="772" y="1644"/>
                </a:lnTo>
                <a:lnTo>
                  <a:pt x="776" y="1638"/>
                </a:lnTo>
                <a:lnTo>
                  <a:pt x="784" y="1634"/>
                </a:lnTo>
                <a:lnTo>
                  <a:pt x="792" y="1630"/>
                </a:lnTo>
                <a:lnTo>
                  <a:pt x="800" y="1630"/>
                </a:lnTo>
                <a:lnTo>
                  <a:pt x="806" y="1632"/>
                </a:lnTo>
                <a:lnTo>
                  <a:pt x="812" y="1634"/>
                </a:lnTo>
                <a:lnTo>
                  <a:pt x="818" y="1634"/>
                </a:lnTo>
                <a:lnTo>
                  <a:pt x="822" y="1630"/>
                </a:lnTo>
                <a:lnTo>
                  <a:pt x="826" y="1626"/>
                </a:lnTo>
                <a:lnTo>
                  <a:pt x="836" y="1614"/>
                </a:lnTo>
                <a:lnTo>
                  <a:pt x="846" y="1602"/>
                </a:lnTo>
                <a:lnTo>
                  <a:pt x="852" y="1598"/>
                </a:lnTo>
                <a:lnTo>
                  <a:pt x="860" y="1600"/>
                </a:lnTo>
                <a:lnTo>
                  <a:pt x="868" y="1604"/>
                </a:lnTo>
                <a:lnTo>
                  <a:pt x="874" y="1612"/>
                </a:lnTo>
                <a:lnTo>
                  <a:pt x="902" y="1650"/>
                </a:lnTo>
                <a:lnTo>
                  <a:pt x="914" y="1666"/>
                </a:lnTo>
                <a:lnTo>
                  <a:pt x="920" y="1672"/>
                </a:lnTo>
                <a:lnTo>
                  <a:pt x="924" y="1674"/>
                </a:lnTo>
                <a:lnTo>
                  <a:pt x="926" y="1674"/>
                </a:lnTo>
                <a:lnTo>
                  <a:pt x="930" y="1678"/>
                </a:lnTo>
                <a:lnTo>
                  <a:pt x="936" y="1692"/>
                </a:lnTo>
                <a:lnTo>
                  <a:pt x="942" y="1712"/>
                </a:lnTo>
                <a:lnTo>
                  <a:pt x="944" y="1738"/>
                </a:lnTo>
                <a:lnTo>
                  <a:pt x="944" y="1744"/>
                </a:lnTo>
                <a:lnTo>
                  <a:pt x="944" y="1798"/>
                </a:lnTo>
                <a:lnTo>
                  <a:pt x="944" y="2068"/>
                </a:lnTo>
                <a:lnTo>
                  <a:pt x="940" y="2096"/>
                </a:lnTo>
                <a:lnTo>
                  <a:pt x="936" y="2122"/>
                </a:lnTo>
                <a:lnTo>
                  <a:pt x="926" y="2154"/>
                </a:lnTo>
                <a:lnTo>
                  <a:pt x="918" y="2180"/>
                </a:lnTo>
                <a:lnTo>
                  <a:pt x="912" y="2208"/>
                </a:lnTo>
                <a:lnTo>
                  <a:pt x="906" y="2238"/>
                </a:lnTo>
                <a:lnTo>
                  <a:pt x="902" y="2264"/>
                </a:lnTo>
                <a:lnTo>
                  <a:pt x="902" y="2292"/>
                </a:lnTo>
                <a:lnTo>
                  <a:pt x="902" y="2358"/>
                </a:lnTo>
                <a:lnTo>
                  <a:pt x="898" y="2386"/>
                </a:lnTo>
                <a:lnTo>
                  <a:pt x="892" y="2412"/>
                </a:lnTo>
                <a:lnTo>
                  <a:pt x="868" y="2480"/>
                </a:lnTo>
                <a:lnTo>
                  <a:pt x="862" y="2506"/>
                </a:lnTo>
                <a:lnTo>
                  <a:pt x="856" y="2534"/>
                </a:lnTo>
                <a:lnTo>
                  <a:pt x="850" y="2576"/>
                </a:lnTo>
                <a:lnTo>
                  <a:pt x="844" y="2630"/>
                </a:lnTo>
                <a:lnTo>
                  <a:pt x="836" y="2720"/>
                </a:lnTo>
                <a:lnTo>
                  <a:pt x="836" y="2732"/>
                </a:lnTo>
                <a:lnTo>
                  <a:pt x="838" y="2744"/>
                </a:lnTo>
                <a:lnTo>
                  <a:pt x="842" y="2756"/>
                </a:lnTo>
                <a:lnTo>
                  <a:pt x="846" y="2764"/>
                </a:lnTo>
                <a:lnTo>
                  <a:pt x="850" y="2774"/>
                </a:lnTo>
                <a:lnTo>
                  <a:pt x="852" y="2782"/>
                </a:lnTo>
                <a:lnTo>
                  <a:pt x="850" y="2792"/>
                </a:lnTo>
                <a:lnTo>
                  <a:pt x="846" y="2802"/>
                </a:lnTo>
                <a:lnTo>
                  <a:pt x="842" y="2810"/>
                </a:lnTo>
                <a:lnTo>
                  <a:pt x="842" y="2820"/>
                </a:lnTo>
                <a:lnTo>
                  <a:pt x="846" y="2830"/>
                </a:lnTo>
                <a:lnTo>
                  <a:pt x="852" y="2840"/>
                </a:lnTo>
                <a:lnTo>
                  <a:pt x="858" y="2846"/>
                </a:lnTo>
                <a:lnTo>
                  <a:pt x="864" y="2856"/>
                </a:lnTo>
                <a:lnTo>
                  <a:pt x="870" y="2870"/>
                </a:lnTo>
                <a:lnTo>
                  <a:pt x="874" y="2882"/>
                </a:lnTo>
                <a:lnTo>
                  <a:pt x="876" y="2894"/>
                </a:lnTo>
                <a:lnTo>
                  <a:pt x="876" y="3020"/>
                </a:lnTo>
                <a:lnTo>
                  <a:pt x="876" y="3054"/>
                </a:lnTo>
                <a:lnTo>
                  <a:pt x="878" y="3062"/>
                </a:lnTo>
                <a:lnTo>
                  <a:pt x="882" y="3072"/>
                </a:lnTo>
                <a:lnTo>
                  <a:pt x="892" y="3086"/>
                </a:lnTo>
                <a:lnTo>
                  <a:pt x="910" y="3102"/>
                </a:lnTo>
                <a:lnTo>
                  <a:pt x="920" y="3110"/>
                </a:lnTo>
                <a:lnTo>
                  <a:pt x="928" y="3116"/>
                </a:lnTo>
                <a:lnTo>
                  <a:pt x="936" y="3120"/>
                </a:lnTo>
                <a:lnTo>
                  <a:pt x="944" y="3120"/>
                </a:lnTo>
                <a:lnTo>
                  <a:pt x="978" y="3120"/>
                </a:lnTo>
                <a:lnTo>
                  <a:pt x="1014" y="3120"/>
                </a:lnTo>
                <a:lnTo>
                  <a:pt x="1028" y="3120"/>
                </a:lnTo>
                <a:lnTo>
                  <a:pt x="1040" y="3116"/>
                </a:lnTo>
                <a:lnTo>
                  <a:pt x="1046" y="3110"/>
                </a:lnTo>
                <a:lnTo>
                  <a:pt x="1052" y="3104"/>
                </a:lnTo>
                <a:lnTo>
                  <a:pt x="1058" y="3094"/>
                </a:lnTo>
                <a:lnTo>
                  <a:pt x="1062" y="3084"/>
                </a:lnTo>
                <a:lnTo>
                  <a:pt x="1068" y="3060"/>
                </a:lnTo>
                <a:lnTo>
                  <a:pt x="1070" y="3036"/>
                </a:lnTo>
                <a:lnTo>
                  <a:pt x="1068" y="3024"/>
                </a:lnTo>
                <a:lnTo>
                  <a:pt x="1066" y="3012"/>
                </a:lnTo>
                <a:lnTo>
                  <a:pt x="1062" y="2998"/>
                </a:lnTo>
                <a:lnTo>
                  <a:pt x="1058" y="2986"/>
                </a:lnTo>
                <a:lnTo>
                  <a:pt x="1052" y="2976"/>
                </a:lnTo>
                <a:lnTo>
                  <a:pt x="1028" y="2926"/>
                </a:lnTo>
                <a:lnTo>
                  <a:pt x="1024" y="2914"/>
                </a:lnTo>
                <a:lnTo>
                  <a:pt x="1020" y="2904"/>
                </a:lnTo>
                <a:lnTo>
                  <a:pt x="1020" y="2890"/>
                </a:lnTo>
                <a:lnTo>
                  <a:pt x="1022" y="2878"/>
                </a:lnTo>
                <a:lnTo>
                  <a:pt x="1028" y="2868"/>
                </a:lnTo>
                <a:lnTo>
                  <a:pt x="1038" y="2854"/>
                </a:lnTo>
                <a:lnTo>
                  <a:pt x="1044" y="2842"/>
                </a:lnTo>
                <a:lnTo>
                  <a:pt x="1050" y="2830"/>
                </a:lnTo>
                <a:lnTo>
                  <a:pt x="1052" y="2818"/>
                </a:lnTo>
                <a:lnTo>
                  <a:pt x="1054" y="2806"/>
                </a:lnTo>
                <a:lnTo>
                  <a:pt x="1054" y="2796"/>
                </a:lnTo>
                <a:lnTo>
                  <a:pt x="1058" y="2782"/>
                </a:lnTo>
                <a:lnTo>
                  <a:pt x="1062" y="2770"/>
                </a:lnTo>
                <a:lnTo>
                  <a:pt x="1066" y="2758"/>
                </a:lnTo>
                <a:lnTo>
                  <a:pt x="1084" y="2724"/>
                </a:lnTo>
                <a:lnTo>
                  <a:pt x="1094" y="2698"/>
                </a:lnTo>
                <a:lnTo>
                  <a:pt x="1102" y="2672"/>
                </a:lnTo>
                <a:lnTo>
                  <a:pt x="1144" y="2520"/>
                </a:lnTo>
                <a:lnTo>
                  <a:pt x="1156" y="2466"/>
                </a:lnTo>
                <a:lnTo>
                  <a:pt x="1188" y="2266"/>
                </a:lnTo>
                <a:lnTo>
                  <a:pt x="1200" y="2214"/>
                </a:lnTo>
                <a:lnTo>
                  <a:pt x="1228" y="2110"/>
                </a:lnTo>
                <a:lnTo>
                  <a:pt x="1240" y="2058"/>
                </a:lnTo>
                <a:lnTo>
                  <a:pt x="1256" y="1990"/>
                </a:lnTo>
                <a:lnTo>
                  <a:pt x="1258" y="1980"/>
                </a:lnTo>
                <a:lnTo>
                  <a:pt x="1262" y="1974"/>
                </a:lnTo>
                <a:lnTo>
                  <a:pt x="1266" y="1972"/>
                </a:lnTo>
                <a:lnTo>
                  <a:pt x="1268" y="1976"/>
                </a:lnTo>
                <a:lnTo>
                  <a:pt x="1272" y="1982"/>
                </a:lnTo>
                <a:lnTo>
                  <a:pt x="1274" y="1992"/>
                </a:lnTo>
                <a:lnTo>
                  <a:pt x="1276" y="2016"/>
                </a:lnTo>
                <a:lnTo>
                  <a:pt x="1276" y="2080"/>
                </a:lnTo>
                <a:lnTo>
                  <a:pt x="1278" y="2106"/>
                </a:lnTo>
                <a:lnTo>
                  <a:pt x="1282" y="2134"/>
                </a:lnTo>
                <a:lnTo>
                  <a:pt x="1284" y="2142"/>
                </a:lnTo>
                <a:lnTo>
                  <a:pt x="1286" y="2154"/>
                </a:lnTo>
                <a:lnTo>
                  <a:pt x="1286" y="2168"/>
                </a:lnTo>
                <a:lnTo>
                  <a:pt x="1282" y="2182"/>
                </a:lnTo>
                <a:lnTo>
                  <a:pt x="1278" y="2194"/>
                </a:lnTo>
                <a:lnTo>
                  <a:pt x="1274" y="2204"/>
                </a:lnTo>
                <a:lnTo>
                  <a:pt x="1268" y="2216"/>
                </a:lnTo>
                <a:lnTo>
                  <a:pt x="1264" y="2228"/>
                </a:lnTo>
                <a:lnTo>
                  <a:pt x="1262" y="2242"/>
                </a:lnTo>
                <a:lnTo>
                  <a:pt x="1262" y="2256"/>
                </a:lnTo>
                <a:lnTo>
                  <a:pt x="1262" y="2262"/>
                </a:lnTo>
                <a:lnTo>
                  <a:pt x="1262" y="2318"/>
                </a:lnTo>
                <a:lnTo>
                  <a:pt x="1262" y="2358"/>
                </a:lnTo>
                <a:lnTo>
                  <a:pt x="1258" y="2414"/>
                </a:lnTo>
                <a:lnTo>
                  <a:pt x="1252" y="2480"/>
                </a:lnTo>
                <a:lnTo>
                  <a:pt x="1246" y="2534"/>
                </a:lnTo>
                <a:lnTo>
                  <a:pt x="1238" y="2598"/>
                </a:lnTo>
                <a:lnTo>
                  <a:pt x="1234" y="2620"/>
                </a:lnTo>
                <a:lnTo>
                  <a:pt x="1228" y="2638"/>
                </a:lnTo>
                <a:lnTo>
                  <a:pt x="1222" y="2654"/>
                </a:lnTo>
                <a:lnTo>
                  <a:pt x="1214" y="2678"/>
                </a:lnTo>
                <a:lnTo>
                  <a:pt x="1212" y="2682"/>
                </a:lnTo>
                <a:lnTo>
                  <a:pt x="1212" y="2696"/>
                </a:lnTo>
                <a:lnTo>
                  <a:pt x="1212" y="2708"/>
                </a:lnTo>
                <a:lnTo>
                  <a:pt x="1216" y="2722"/>
                </a:lnTo>
                <a:lnTo>
                  <a:pt x="1220" y="2734"/>
                </a:lnTo>
                <a:lnTo>
                  <a:pt x="1226" y="2746"/>
                </a:lnTo>
                <a:lnTo>
                  <a:pt x="1230" y="2758"/>
                </a:lnTo>
                <a:lnTo>
                  <a:pt x="1234" y="2772"/>
                </a:lnTo>
                <a:lnTo>
                  <a:pt x="1234" y="2786"/>
                </a:lnTo>
                <a:lnTo>
                  <a:pt x="1234" y="2816"/>
                </a:lnTo>
                <a:lnTo>
                  <a:pt x="1236" y="2826"/>
                </a:lnTo>
                <a:lnTo>
                  <a:pt x="1242" y="2838"/>
                </a:lnTo>
                <a:lnTo>
                  <a:pt x="1250" y="2848"/>
                </a:lnTo>
                <a:lnTo>
                  <a:pt x="1260" y="2854"/>
                </a:lnTo>
                <a:lnTo>
                  <a:pt x="1266" y="2856"/>
                </a:lnTo>
                <a:lnTo>
                  <a:pt x="1284" y="2864"/>
                </a:lnTo>
                <a:lnTo>
                  <a:pt x="1296" y="2868"/>
                </a:lnTo>
                <a:lnTo>
                  <a:pt x="1300" y="2870"/>
                </a:lnTo>
                <a:lnTo>
                  <a:pt x="1306" y="2874"/>
                </a:lnTo>
                <a:lnTo>
                  <a:pt x="1318" y="2890"/>
                </a:lnTo>
                <a:lnTo>
                  <a:pt x="1330" y="2904"/>
                </a:lnTo>
                <a:lnTo>
                  <a:pt x="1344" y="2924"/>
                </a:lnTo>
                <a:lnTo>
                  <a:pt x="1360" y="2940"/>
                </a:lnTo>
                <a:lnTo>
                  <a:pt x="1374" y="2950"/>
                </a:lnTo>
                <a:lnTo>
                  <a:pt x="1388" y="2958"/>
                </a:lnTo>
                <a:lnTo>
                  <a:pt x="1414" y="2970"/>
                </a:lnTo>
                <a:lnTo>
                  <a:pt x="1456" y="2982"/>
                </a:lnTo>
                <a:lnTo>
                  <a:pt x="1458" y="2982"/>
                </a:lnTo>
                <a:lnTo>
                  <a:pt x="1470" y="2984"/>
                </a:lnTo>
                <a:lnTo>
                  <a:pt x="1484" y="2984"/>
                </a:lnTo>
                <a:lnTo>
                  <a:pt x="1498" y="2982"/>
                </a:lnTo>
                <a:lnTo>
                  <a:pt x="1510" y="2980"/>
                </a:lnTo>
                <a:lnTo>
                  <a:pt x="1526" y="2972"/>
                </a:lnTo>
                <a:lnTo>
                  <a:pt x="1538" y="2968"/>
                </a:lnTo>
                <a:lnTo>
                  <a:pt x="1548" y="2960"/>
                </a:lnTo>
                <a:lnTo>
                  <a:pt x="1556" y="2952"/>
                </a:lnTo>
                <a:lnTo>
                  <a:pt x="1560" y="2946"/>
                </a:lnTo>
                <a:lnTo>
                  <a:pt x="1562" y="2936"/>
                </a:lnTo>
                <a:lnTo>
                  <a:pt x="1560" y="2926"/>
                </a:lnTo>
                <a:lnTo>
                  <a:pt x="1556" y="2918"/>
                </a:lnTo>
                <a:lnTo>
                  <a:pt x="1548" y="2908"/>
                </a:lnTo>
                <a:lnTo>
                  <a:pt x="1534" y="2896"/>
                </a:lnTo>
                <a:lnTo>
                  <a:pt x="1494" y="2860"/>
                </a:lnTo>
                <a:lnTo>
                  <a:pt x="1474" y="2840"/>
                </a:lnTo>
                <a:lnTo>
                  <a:pt x="1458" y="2818"/>
                </a:lnTo>
                <a:lnTo>
                  <a:pt x="1442" y="2796"/>
                </a:lnTo>
                <a:lnTo>
                  <a:pt x="1438" y="2784"/>
                </a:lnTo>
                <a:lnTo>
                  <a:pt x="1434" y="2770"/>
                </a:lnTo>
                <a:lnTo>
                  <a:pt x="1430" y="2756"/>
                </a:lnTo>
                <a:lnTo>
                  <a:pt x="1430" y="2744"/>
                </a:lnTo>
                <a:lnTo>
                  <a:pt x="1430" y="2738"/>
                </a:lnTo>
                <a:lnTo>
                  <a:pt x="1432" y="2726"/>
                </a:lnTo>
                <a:lnTo>
                  <a:pt x="1436" y="2714"/>
                </a:lnTo>
                <a:lnTo>
                  <a:pt x="1442" y="2704"/>
                </a:lnTo>
                <a:lnTo>
                  <a:pt x="1450" y="2698"/>
                </a:lnTo>
                <a:lnTo>
                  <a:pt x="1458" y="2692"/>
                </a:lnTo>
                <a:lnTo>
                  <a:pt x="1466" y="2684"/>
                </a:lnTo>
                <a:lnTo>
                  <a:pt x="1470" y="2676"/>
                </a:lnTo>
                <a:lnTo>
                  <a:pt x="1472" y="2668"/>
                </a:lnTo>
                <a:lnTo>
                  <a:pt x="1474" y="2624"/>
                </a:lnTo>
                <a:lnTo>
                  <a:pt x="1480" y="2568"/>
                </a:lnTo>
                <a:lnTo>
                  <a:pt x="1486" y="2542"/>
                </a:lnTo>
                <a:lnTo>
                  <a:pt x="1492" y="2514"/>
                </a:lnTo>
                <a:lnTo>
                  <a:pt x="1506" y="2472"/>
                </a:lnTo>
                <a:lnTo>
                  <a:pt x="1512" y="2444"/>
                </a:lnTo>
                <a:lnTo>
                  <a:pt x="1516" y="2418"/>
                </a:lnTo>
                <a:lnTo>
                  <a:pt x="1524" y="2328"/>
                </a:lnTo>
                <a:lnTo>
                  <a:pt x="1528" y="2302"/>
                </a:lnTo>
                <a:lnTo>
                  <a:pt x="1536" y="2274"/>
                </a:lnTo>
                <a:lnTo>
                  <a:pt x="1572" y="2158"/>
                </a:lnTo>
                <a:lnTo>
                  <a:pt x="1588" y="2106"/>
                </a:lnTo>
                <a:lnTo>
                  <a:pt x="1616" y="1978"/>
                </a:lnTo>
                <a:lnTo>
                  <a:pt x="1630" y="1924"/>
                </a:lnTo>
                <a:lnTo>
                  <a:pt x="1660" y="1810"/>
                </a:lnTo>
                <a:lnTo>
                  <a:pt x="1664" y="1784"/>
                </a:lnTo>
                <a:lnTo>
                  <a:pt x="1666" y="1758"/>
                </a:lnTo>
                <a:lnTo>
                  <a:pt x="1668" y="1748"/>
                </a:lnTo>
                <a:lnTo>
                  <a:pt x="1672" y="1736"/>
                </a:lnTo>
                <a:lnTo>
                  <a:pt x="1678" y="1724"/>
                </a:lnTo>
                <a:lnTo>
                  <a:pt x="1684" y="1716"/>
                </a:lnTo>
                <a:lnTo>
                  <a:pt x="1728" y="1670"/>
                </a:lnTo>
                <a:lnTo>
                  <a:pt x="1734" y="1660"/>
                </a:lnTo>
                <a:lnTo>
                  <a:pt x="1740" y="1648"/>
                </a:lnTo>
                <a:lnTo>
                  <a:pt x="1744" y="1636"/>
                </a:lnTo>
                <a:lnTo>
                  <a:pt x="1746" y="1624"/>
                </a:lnTo>
                <a:lnTo>
                  <a:pt x="1746" y="1582"/>
                </a:lnTo>
                <a:lnTo>
                  <a:pt x="1746" y="1528"/>
                </a:lnTo>
                <a:lnTo>
                  <a:pt x="1746" y="1446"/>
                </a:lnTo>
                <a:close/>
                <a:moveTo>
                  <a:pt x="190" y="614"/>
                </a:moveTo>
                <a:lnTo>
                  <a:pt x="190" y="614"/>
                </a:lnTo>
                <a:lnTo>
                  <a:pt x="186" y="614"/>
                </a:lnTo>
                <a:lnTo>
                  <a:pt x="190" y="614"/>
                </a:lnTo>
                <a:lnTo>
                  <a:pt x="192" y="614"/>
                </a:lnTo>
                <a:lnTo>
                  <a:pt x="190" y="6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394" name="TextBox 38"/>
          <p:cNvSpPr txBox="1">
            <a:spLocks noChangeArrowheads="1"/>
          </p:cNvSpPr>
          <p:nvPr/>
        </p:nvSpPr>
        <p:spPr bwMode="auto">
          <a:xfrm>
            <a:off x="2768600" y="3619500"/>
            <a:ext cx="19558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Buy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6395" name="TextBox 39"/>
          <p:cNvSpPr txBox="1">
            <a:spLocks noChangeArrowheads="1"/>
          </p:cNvSpPr>
          <p:nvPr/>
        </p:nvSpPr>
        <p:spPr bwMode="auto">
          <a:xfrm>
            <a:off x="4775200" y="3619500"/>
            <a:ext cx="19558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Threat of substitutes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6396" name="TextBox 40"/>
          <p:cNvSpPr txBox="1">
            <a:spLocks noChangeArrowheads="1"/>
          </p:cNvSpPr>
          <p:nvPr/>
        </p:nvSpPr>
        <p:spPr bwMode="auto">
          <a:xfrm>
            <a:off x="6731000" y="2381250"/>
            <a:ext cx="19558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Barriers to entry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6397" name="TextBox 41"/>
          <p:cNvSpPr txBox="1">
            <a:spLocks noChangeArrowheads="1"/>
          </p:cNvSpPr>
          <p:nvPr/>
        </p:nvSpPr>
        <p:spPr bwMode="auto">
          <a:xfrm>
            <a:off x="736600" y="2381250"/>
            <a:ext cx="19431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53637"/>
                </a:solidFill>
                <a:latin typeface="Arial" charset="0"/>
              </a:rPr>
              <a:t>Supplier power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Please replace with own text</a:t>
            </a:r>
          </a:p>
          <a:p>
            <a:pPr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GB" sz="1100" noProof="1">
                <a:solidFill>
                  <a:srgbClr val="151616"/>
                </a:solidFill>
                <a:cs typeface="Arial" charset="0"/>
              </a:rPr>
              <a:t>This is an example text. </a:t>
            </a:r>
          </a:p>
          <a:p>
            <a:pPr eaLnBrk="1" hangingPunct="1"/>
            <a:endParaRPr lang="nb-NO" sz="1100">
              <a:solidFill>
                <a:srgbClr val="353637"/>
              </a:solidFill>
              <a:latin typeface="Arial" charset="0"/>
            </a:endParaRPr>
          </a:p>
          <a:p>
            <a:pPr eaLnBrk="1" hangingPunct="1"/>
            <a:endParaRPr lang="nb-NO">
              <a:latin typeface="Arial" charset="0"/>
            </a:endParaRP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4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531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Group 1"/>
          <p:cNvGrpSpPr>
            <a:grpSpLocks/>
          </p:cNvGrpSpPr>
          <p:nvPr/>
        </p:nvGrpSpPr>
        <p:grpSpPr bwMode="auto">
          <a:xfrm>
            <a:off x="1733550" y="1577975"/>
            <a:ext cx="5676900" cy="4519613"/>
            <a:chOff x="876300" y="681038"/>
            <a:chExt cx="7404100" cy="5896463"/>
          </a:xfrm>
        </p:grpSpPr>
        <p:sp>
          <p:nvSpPr>
            <p:cNvPr id="47" name="Rounded Rectangle 46"/>
            <p:cNvSpPr>
              <a:spLocks noChangeArrowheads="1"/>
            </p:cNvSpPr>
            <p:nvPr/>
          </p:nvSpPr>
          <p:spPr bwMode="auto">
            <a:xfrm>
              <a:off x="3249090" y="681038"/>
              <a:ext cx="2764115" cy="1168108"/>
            </a:xfrm>
            <a:prstGeom prst="roundRect">
              <a:avLst>
                <a:gd name="adj" fmla="val 5986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4A7EBB"/>
              </a:solidFill>
              <a:round/>
              <a:headEnd/>
              <a:tailEnd/>
            </a:ln>
            <a:effectLst>
              <a:outerShdw blurRad="40000" dist="10287" dir="5400000" rotWithShape="0">
                <a:srgbClr val="BFBFBF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20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7414" name="TextBox 5"/>
            <p:cNvSpPr txBox="1">
              <a:spLocks noChangeArrowheads="1"/>
            </p:cNvSpPr>
            <p:nvPr/>
          </p:nvSpPr>
          <p:spPr bwMode="auto">
            <a:xfrm>
              <a:off x="3398838" y="779463"/>
              <a:ext cx="2298700" cy="1413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en-GB" sz="900" b="1">
                  <a:solidFill>
                    <a:srgbClr val="353637"/>
                  </a:solidFill>
                  <a:latin typeface="Arial" charset="0"/>
                </a:rPr>
                <a:t>Threat of substitutes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Please replace with own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. </a:t>
              </a:r>
            </a:p>
            <a:p>
              <a:pPr eaLnBrk="1" hangingPunct="1"/>
              <a:endParaRPr lang="nb-NO" sz="900">
                <a:solidFill>
                  <a:srgbClr val="353637"/>
                </a:solidFill>
                <a:latin typeface="Arial" charset="0"/>
              </a:endParaRPr>
            </a:p>
            <a:p>
              <a:pPr eaLnBrk="1" hangingPunct="1"/>
              <a:endParaRPr lang="nb-NO" sz="1200">
                <a:latin typeface="Arial" charset="0"/>
              </a:endParaRPr>
            </a:p>
          </p:txBody>
        </p:sp>
        <p:sp>
          <p:nvSpPr>
            <p:cNvPr id="49" name="Rounded Rectangle 48"/>
            <p:cNvSpPr>
              <a:spLocks noChangeArrowheads="1"/>
            </p:cNvSpPr>
            <p:nvPr/>
          </p:nvSpPr>
          <p:spPr bwMode="auto">
            <a:xfrm>
              <a:off x="876300" y="2866064"/>
              <a:ext cx="2120190" cy="1168108"/>
            </a:xfrm>
            <a:prstGeom prst="roundRect">
              <a:avLst>
                <a:gd name="adj" fmla="val 5986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4A7EBB"/>
              </a:solidFill>
              <a:round/>
              <a:headEnd/>
              <a:tailEnd/>
            </a:ln>
            <a:effectLst>
              <a:outerShdw blurRad="40000" dist="10287" dir="5400000" rotWithShape="0">
                <a:srgbClr val="BFBFBF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20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7416" name="TextBox 7"/>
            <p:cNvSpPr txBox="1">
              <a:spLocks noChangeArrowheads="1"/>
            </p:cNvSpPr>
            <p:nvPr/>
          </p:nvSpPr>
          <p:spPr bwMode="auto">
            <a:xfrm>
              <a:off x="1027114" y="2963864"/>
              <a:ext cx="1901825" cy="1594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en-GB" sz="900" b="1">
                  <a:solidFill>
                    <a:srgbClr val="353637"/>
                  </a:solidFill>
                  <a:latin typeface="Arial" charset="0"/>
                </a:rPr>
                <a:t>Supplier power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Please replace with own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. </a:t>
              </a:r>
            </a:p>
            <a:p>
              <a:pPr eaLnBrk="1" hangingPunct="1"/>
              <a:endParaRPr lang="nb-NO" sz="900">
                <a:solidFill>
                  <a:srgbClr val="353637"/>
                </a:solidFill>
                <a:latin typeface="Arial" charset="0"/>
              </a:endParaRPr>
            </a:p>
            <a:p>
              <a:pPr eaLnBrk="1" hangingPunct="1"/>
              <a:endParaRPr lang="nb-NO" sz="1200">
                <a:latin typeface="Arial" charset="0"/>
              </a:endParaRPr>
            </a:p>
          </p:txBody>
        </p:sp>
        <p:sp>
          <p:nvSpPr>
            <p:cNvPr id="51" name="Rounded Rectangle 50"/>
            <p:cNvSpPr>
              <a:spLocks noChangeArrowheads="1"/>
            </p:cNvSpPr>
            <p:nvPr/>
          </p:nvSpPr>
          <p:spPr bwMode="auto">
            <a:xfrm>
              <a:off x="6141576" y="2866064"/>
              <a:ext cx="2122260" cy="1168108"/>
            </a:xfrm>
            <a:prstGeom prst="roundRect">
              <a:avLst>
                <a:gd name="adj" fmla="val 5986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4A7EBB"/>
              </a:solidFill>
              <a:round/>
              <a:headEnd/>
              <a:tailEnd/>
            </a:ln>
            <a:effectLst>
              <a:outerShdw blurRad="40000" dist="10287" dir="5400000" rotWithShape="0">
                <a:srgbClr val="BFBFBF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20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7418" name="TextBox 9"/>
            <p:cNvSpPr txBox="1">
              <a:spLocks noChangeArrowheads="1"/>
            </p:cNvSpPr>
            <p:nvPr/>
          </p:nvSpPr>
          <p:spPr bwMode="auto">
            <a:xfrm>
              <a:off x="6292851" y="2963864"/>
              <a:ext cx="1987549" cy="1594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en-GB" sz="900" b="1">
                  <a:solidFill>
                    <a:srgbClr val="353637"/>
                  </a:solidFill>
                  <a:latin typeface="Arial" charset="0"/>
                </a:rPr>
                <a:t>Buyer power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Please replace with own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. </a:t>
              </a:r>
            </a:p>
            <a:p>
              <a:pPr eaLnBrk="1" hangingPunct="1"/>
              <a:endParaRPr lang="nb-NO" sz="900">
                <a:solidFill>
                  <a:srgbClr val="353637"/>
                </a:solidFill>
                <a:latin typeface="Arial" charset="0"/>
              </a:endParaRPr>
            </a:p>
            <a:p>
              <a:pPr eaLnBrk="1" hangingPunct="1"/>
              <a:endParaRPr lang="nb-NO" sz="1200">
                <a:latin typeface="Arial" charset="0"/>
              </a:endParaRPr>
            </a:p>
          </p:txBody>
        </p:sp>
        <p:sp>
          <p:nvSpPr>
            <p:cNvPr id="53" name="Rounded Rectangle 52"/>
            <p:cNvSpPr>
              <a:spLocks noChangeArrowheads="1"/>
            </p:cNvSpPr>
            <p:nvPr/>
          </p:nvSpPr>
          <p:spPr bwMode="auto">
            <a:xfrm>
              <a:off x="3249090" y="5067658"/>
              <a:ext cx="2764115" cy="1168108"/>
            </a:xfrm>
            <a:prstGeom prst="roundRect">
              <a:avLst>
                <a:gd name="adj" fmla="val 5986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4A7EBB"/>
              </a:solidFill>
              <a:round/>
              <a:headEnd/>
              <a:tailEnd/>
            </a:ln>
            <a:effectLst>
              <a:outerShdw blurRad="40000" dist="10287" dir="5400000" rotWithShape="0">
                <a:srgbClr val="BFBFBF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20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7420" name="TextBox 15"/>
            <p:cNvSpPr txBox="1">
              <a:spLocks noChangeArrowheads="1"/>
            </p:cNvSpPr>
            <p:nvPr/>
          </p:nvSpPr>
          <p:spPr bwMode="auto">
            <a:xfrm>
              <a:off x="3398838" y="5164138"/>
              <a:ext cx="2298700" cy="1413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en-GB" sz="900" b="1">
                  <a:solidFill>
                    <a:srgbClr val="353637"/>
                  </a:solidFill>
                  <a:latin typeface="Arial" charset="0"/>
                </a:rPr>
                <a:t>Barriers to entry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Please replace with own text</a:t>
              </a:r>
            </a:p>
            <a:p>
              <a:pPr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900" noProof="1">
                  <a:solidFill>
                    <a:srgbClr val="151616"/>
                  </a:solidFill>
                  <a:cs typeface="Arial" charset="0"/>
                </a:rPr>
                <a:t>This is an example text. </a:t>
              </a:r>
            </a:p>
            <a:p>
              <a:pPr eaLnBrk="1" hangingPunct="1"/>
              <a:endParaRPr lang="nb-NO" sz="900">
                <a:solidFill>
                  <a:srgbClr val="353637"/>
                </a:solidFill>
                <a:latin typeface="Arial" charset="0"/>
              </a:endParaRPr>
            </a:p>
            <a:p>
              <a:pPr eaLnBrk="1" hangingPunct="1"/>
              <a:endParaRPr lang="nb-NO" sz="1200">
                <a:latin typeface="Arial" charset="0"/>
              </a:endParaRPr>
            </a:p>
          </p:txBody>
        </p:sp>
        <p:sp>
          <p:nvSpPr>
            <p:cNvPr id="5134" name="Tekstboks 6"/>
            <p:cNvSpPr txBox="1">
              <a:spLocks noChangeArrowheads="1"/>
            </p:cNvSpPr>
            <p:nvPr/>
          </p:nvSpPr>
          <p:spPr bwMode="auto">
            <a:xfrm>
              <a:off x="3520326" y="3288572"/>
              <a:ext cx="2134683" cy="339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>
                <a:defRPr/>
              </a:pPr>
              <a:r>
                <a:rPr lang="da-DK" sz="1050" b="1" smtClean="0">
                  <a:solidFill>
                    <a:srgbClr val="227088"/>
                  </a:solidFill>
                </a:rPr>
                <a:t>RIVALRY</a:t>
              </a:r>
            </a:p>
          </p:txBody>
        </p:sp>
        <p:sp>
          <p:nvSpPr>
            <p:cNvPr id="60" name="Donut 59"/>
            <p:cNvSpPr>
              <a:spLocks/>
            </p:cNvSpPr>
            <p:nvPr/>
          </p:nvSpPr>
          <p:spPr bwMode="auto">
            <a:xfrm rot="2700000">
              <a:off x="3247658" y="2119826"/>
              <a:ext cx="2677950" cy="2679224"/>
            </a:xfrm>
            <a:custGeom>
              <a:avLst/>
              <a:gdLst>
                <a:gd name="T0" fmla="*/ 0 w 2678113"/>
                <a:gd name="T1" fmla="*/ 1339850 h 2679700"/>
                <a:gd name="T2" fmla="*/ 1339057 w 2678113"/>
                <a:gd name="T3" fmla="*/ 0 h 2679700"/>
                <a:gd name="T4" fmla="*/ 2678114 w 2678113"/>
                <a:gd name="T5" fmla="*/ 1339850 h 2679700"/>
                <a:gd name="T6" fmla="*/ 1339057 w 2678113"/>
                <a:gd name="T7" fmla="*/ 2679700 h 2679700"/>
                <a:gd name="T8" fmla="*/ 0 w 2678113"/>
                <a:gd name="T9" fmla="*/ 1339850 h 2679700"/>
                <a:gd name="T10" fmla="*/ 322123 w 2678113"/>
                <a:gd name="T11" fmla="*/ 1339850 h 2679700"/>
                <a:gd name="T12" fmla="*/ 1339056 w 2678113"/>
                <a:gd name="T13" fmla="*/ 2357577 h 2679700"/>
                <a:gd name="T14" fmla="*/ 2355989 w 2678113"/>
                <a:gd name="T15" fmla="*/ 1339850 h 2679700"/>
                <a:gd name="T16" fmla="*/ 1339056 w 2678113"/>
                <a:gd name="T17" fmla="*/ 322123 h 2679700"/>
                <a:gd name="T18" fmla="*/ 322123 w 2678113"/>
                <a:gd name="T19" fmla="*/ 1339850 h 2679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78113" h="2679700">
                  <a:moveTo>
                    <a:pt x="0" y="1339850"/>
                  </a:moveTo>
                  <a:cubicBezTo>
                    <a:pt x="0" y="599871"/>
                    <a:pt x="599516" y="0"/>
                    <a:pt x="1339057" y="0"/>
                  </a:cubicBezTo>
                  <a:cubicBezTo>
                    <a:pt x="2078598" y="0"/>
                    <a:pt x="2678114" y="599871"/>
                    <a:pt x="2678114" y="1339850"/>
                  </a:cubicBezTo>
                  <a:cubicBezTo>
                    <a:pt x="2678114" y="2079829"/>
                    <a:pt x="2078598" y="2679700"/>
                    <a:pt x="1339057" y="2679700"/>
                  </a:cubicBezTo>
                  <a:cubicBezTo>
                    <a:pt x="599516" y="2679700"/>
                    <a:pt x="0" y="2079829"/>
                    <a:pt x="0" y="1339850"/>
                  </a:cubicBezTo>
                  <a:close/>
                  <a:moveTo>
                    <a:pt x="322123" y="1339850"/>
                  </a:moveTo>
                  <a:cubicBezTo>
                    <a:pt x="322123" y="1901925"/>
                    <a:pt x="777419" y="2357577"/>
                    <a:pt x="1339056" y="2357577"/>
                  </a:cubicBezTo>
                  <a:cubicBezTo>
                    <a:pt x="1900693" y="2357577"/>
                    <a:pt x="2355989" y="1901925"/>
                    <a:pt x="2355989" y="1339850"/>
                  </a:cubicBezTo>
                  <a:cubicBezTo>
                    <a:pt x="2355989" y="777775"/>
                    <a:pt x="1900693" y="322123"/>
                    <a:pt x="1339056" y="322123"/>
                  </a:cubicBezTo>
                  <a:cubicBezTo>
                    <a:pt x="777419" y="322123"/>
                    <a:pt x="322123" y="777775"/>
                    <a:pt x="322123" y="133985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sz="1200"/>
            </a:p>
          </p:txBody>
        </p:sp>
        <p:grpSp>
          <p:nvGrpSpPr>
            <p:cNvPr id="17423" name="Group 67"/>
            <p:cNvGrpSpPr>
              <a:grpSpLocks/>
            </p:cNvGrpSpPr>
            <p:nvPr/>
          </p:nvGrpSpPr>
          <p:grpSpPr bwMode="auto">
            <a:xfrm>
              <a:off x="2878138" y="2911477"/>
              <a:ext cx="1122362" cy="1098550"/>
              <a:chOff x="2590806" y="2443935"/>
              <a:chExt cx="1362074" cy="1334317"/>
            </a:xfrm>
          </p:grpSpPr>
          <p:grpSp>
            <p:nvGrpSpPr>
              <p:cNvPr id="17462" name="Gruppe 83"/>
              <p:cNvGrpSpPr>
                <a:grpSpLocks/>
              </p:cNvGrpSpPr>
              <p:nvPr/>
            </p:nvGrpSpPr>
            <p:grpSpPr bwMode="auto">
              <a:xfrm rot="5400000">
                <a:off x="2604684" y="2430057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66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86000">
                      <a:srgbClr val="2A9B18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7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68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63" name="L-Shape 62"/>
              <p:cNvSpPr/>
              <p:nvPr/>
            </p:nvSpPr>
            <p:spPr>
              <a:xfrm>
                <a:off x="3048524" y="3052896"/>
                <a:ext cx="469876" cy="374825"/>
              </a:xfrm>
              <a:prstGeom prst="corner">
                <a:avLst>
                  <a:gd name="adj1" fmla="val 74088"/>
                  <a:gd name="adj2" fmla="val 340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20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4" name="Cloud 63"/>
              <p:cNvSpPr/>
              <p:nvPr/>
            </p:nvSpPr>
            <p:spPr>
              <a:xfrm rot="2580872">
                <a:off x="3103804" y="2660461"/>
                <a:ext cx="223630" cy="405012"/>
              </a:xfrm>
              <a:prstGeom prst="cloud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20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17424" name="Group 65"/>
            <p:cNvGrpSpPr>
              <a:grpSpLocks/>
            </p:cNvGrpSpPr>
            <p:nvPr/>
          </p:nvGrpSpPr>
          <p:grpSpPr bwMode="auto">
            <a:xfrm>
              <a:off x="5160963" y="2911476"/>
              <a:ext cx="1120775" cy="1098550"/>
              <a:chOff x="6413505" y="2443935"/>
              <a:chExt cx="1362074" cy="1334317"/>
            </a:xfrm>
          </p:grpSpPr>
          <p:grpSp>
            <p:nvGrpSpPr>
              <p:cNvPr id="17451" name="Gruppe 83"/>
              <p:cNvGrpSpPr>
                <a:grpSpLocks/>
              </p:cNvGrpSpPr>
              <p:nvPr/>
            </p:nvGrpSpPr>
            <p:grpSpPr bwMode="auto">
              <a:xfrm rot="-5400000">
                <a:off x="6427383" y="2430057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74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63000">
                      <a:srgbClr val="CE202A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>
                    <a:solidFill>
                      <a:srgbClr val="FFFFFF"/>
                    </a:solidFill>
                    <a:latin typeface="Calibri" charset="0"/>
                    <a:ea typeface="ＭＳ Ｐゴシック" charset="-128"/>
                    <a:cs typeface="ＭＳ Ｐゴシック" charset="-128"/>
                  </a:endParaRPr>
                </a:p>
              </p:txBody>
            </p:sp>
            <p:sp>
              <p:nvSpPr>
                <p:cNvPr id="75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76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17452" name="Freeform 6"/>
              <p:cNvSpPr>
                <a:spLocks noEditPoints="1"/>
              </p:cNvSpPr>
              <p:nvPr/>
            </p:nvSpPr>
            <p:spPr bwMode="auto">
              <a:xfrm>
                <a:off x="6896100" y="2679700"/>
                <a:ext cx="462364" cy="911224"/>
              </a:xfrm>
              <a:custGeom>
                <a:avLst/>
                <a:gdLst>
                  <a:gd name="T0" fmla="*/ 2147483647 w 1746"/>
                  <a:gd name="T1" fmla="*/ 2147483647 h 3442"/>
                  <a:gd name="T2" fmla="*/ 2147483647 w 1746"/>
                  <a:gd name="T3" fmla="*/ 2147483647 h 3442"/>
                  <a:gd name="T4" fmla="*/ 2147483647 w 1746"/>
                  <a:gd name="T5" fmla="*/ 2147483647 h 3442"/>
                  <a:gd name="T6" fmla="*/ 2147483647 w 1746"/>
                  <a:gd name="T7" fmla="*/ 2147483647 h 3442"/>
                  <a:gd name="T8" fmla="*/ 2147483647 w 1746"/>
                  <a:gd name="T9" fmla="*/ 2147483647 h 3442"/>
                  <a:gd name="T10" fmla="*/ 2147483647 w 1746"/>
                  <a:gd name="T11" fmla="*/ 2147483647 h 3442"/>
                  <a:gd name="T12" fmla="*/ 2147483647 w 1746"/>
                  <a:gd name="T13" fmla="*/ 2147483647 h 3442"/>
                  <a:gd name="T14" fmla="*/ 2147483647 w 1746"/>
                  <a:gd name="T15" fmla="*/ 2147483647 h 3442"/>
                  <a:gd name="T16" fmla="*/ 2147483647 w 1746"/>
                  <a:gd name="T17" fmla="*/ 2147483647 h 3442"/>
                  <a:gd name="T18" fmla="*/ 2147483647 w 1746"/>
                  <a:gd name="T19" fmla="*/ 2147483647 h 3442"/>
                  <a:gd name="T20" fmla="*/ 2147483647 w 1746"/>
                  <a:gd name="T21" fmla="*/ 2147483647 h 3442"/>
                  <a:gd name="T22" fmla="*/ 2147483647 w 1746"/>
                  <a:gd name="T23" fmla="*/ 2147483647 h 3442"/>
                  <a:gd name="T24" fmla="*/ 2147483647 w 1746"/>
                  <a:gd name="T25" fmla="*/ 2147483647 h 3442"/>
                  <a:gd name="T26" fmla="*/ 2147483647 w 1746"/>
                  <a:gd name="T27" fmla="*/ 2147483647 h 3442"/>
                  <a:gd name="T28" fmla="*/ 2147483647 w 1746"/>
                  <a:gd name="T29" fmla="*/ 2147483647 h 3442"/>
                  <a:gd name="T30" fmla="*/ 2147483647 w 1746"/>
                  <a:gd name="T31" fmla="*/ 2147483647 h 3442"/>
                  <a:gd name="T32" fmla="*/ 2147483647 w 1746"/>
                  <a:gd name="T33" fmla="*/ 2147483647 h 3442"/>
                  <a:gd name="T34" fmla="*/ 2147483647 w 1746"/>
                  <a:gd name="T35" fmla="*/ 2147483647 h 3442"/>
                  <a:gd name="T36" fmla="*/ 2147483647 w 1746"/>
                  <a:gd name="T37" fmla="*/ 2147483647 h 3442"/>
                  <a:gd name="T38" fmla="*/ 0 w 1746"/>
                  <a:gd name="T39" fmla="*/ 2147483647 h 3442"/>
                  <a:gd name="T40" fmla="*/ 2147483647 w 1746"/>
                  <a:gd name="T41" fmla="*/ 2147483647 h 3442"/>
                  <a:gd name="T42" fmla="*/ 2147483647 w 1746"/>
                  <a:gd name="T43" fmla="*/ 2147483647 h 3442"/>
                  <a:gd name="T44" fmla="*/ 2147483647 w 1746"/>
                  <a:gd name="T45" fmla="*/ 2147483647 h 3442"/>
                  <a:gd name="T46" fmla="*/ 2147483647 w 1746"/>
                  <a:gd name="T47" fmla="*/ 2147483647 h 3442"/>
                  <a:gd name="T48" fmla="*/ 2147483647 w 1746"/>
                  <a:gd name="T49" fmla="*/ 2147483647 h 3442"/>
                  <a:gd name="T50" fmla="*/ 2147483647 w 1746"/>
                  <a:gd name="T51" fmla="*/ 2147483647 h 3442"/>
                  <a:gd name="T52" fmla="*/ 2147483647 w 1746"/>
                  <a:gd name="T53" fmla="*/ 2147483647 h 3442"/>
                  <a:gd name="T54" fmla="*/ 2147483647 w 1746"/>
                  <a:gd name="T55" fmla="*/ 2147483647 h 3442"/>
                  <a:gd name="T56" fmla="*/ 2147483647 w 1746"/>
                  <a:gd name="T57" fmla="*/ 2147483647 h 3442"/>
                  <a:gd name="T58" fmla="*/ 2147483647 w 1746"/>
                  <a:gd name="T59" fmla="*/ 2147483647 h 3442"/>
                  <a:gd name="T60" fmla="*/ 2147483647 w 1746"/>
                  <a:gd name="T61" fmla="*/ 2147483647 h 3442"/>
                  <a:gd name="T62" fmla="*/ 2147483647 w 1746"/>
                  <a:gd name="T63" fmla="*/ 2147483647 h 3442"/>
                  <a:gd name="T64" fmla="*/ 2147483647 w 1746"/>
                  <a:gd name="T65" fmla="*/ 2147483647 h 3442"/>
                  <a:gd name="T66" fmla="*/ 2147483647 w 1746"/>
                  <a:gd name="T67" fmla="*/ 2147483647 h 3442"/>
                  <a:gd name="T68" fmla="*/ 2147483647 w 1746"/>
                  <a:gd name="T69" fmla="*/ 2147483647 h 3442"/>
                  <a:gd name="T70" fmla="*/ 2147483647 w 1746"/>
                  <a:gd name="T71" fmla="*/ 2147483647 h 3442"/>
                  <a:gd name="T72" fmla="*/ 2147483647 w 1746"/>
                  <a:gd name="T73" fmla="*/ 2147483647 h 3442"/>
                  <a:gd name="T74" fmla="*/ 2147483647 w 1746"/>
                  <a:gd name="T75" fmla="*/ 2147483647 h 3442"/>
                  <a:gd name="T76" fmla="*/ 2147483647 w 1746"/>
                  <a:gd name="T77" fmla="*/ 2147483647 h 3442"/>
                  <a:gd name="T78" fmla="*/ 2147483647 w 1746"/>
                  <a:gd name="T79" fmla="*/ 2147483647 h 3442"/>
                  <a:gd name="T80" fmla="*/ 2147483647 w 1746"/>
                  <a:gd name="T81" fmla="*/ 2147483647 h 3442"/>
                  <a:gd name="T82" fmla="*/ 2147483647 w 1746"/>
                  <a:gd name="T83" fmla="*/ 2147483647 h 3442"/>
                  <a:gd name="T84" fmla="*/ 2147483647 w 1746"/>
                  <a:gd name="T85" fmla="*/ 2147483647 h 3442"/>
                  <a:gd name="T86" fmla="*/ 2147483647 w 1746"/>
                  <a:gd name="T87" fmla="*/ 2147483647 h 3442"/>
                  <a:gd name="T88" fmla="*/ 2147483647 w 1746"/>
                  <a:gd name="T89" fmla="*/ 2147483647 h 3442"/>
                  <a:gd name="T90" fmla="*/ 2147483647 w 1746"/>
                  <a:gd name="T91" fmla="*/ 2147483647 h 3442"/>
                  <a:gd name="T92" fmla="*/ 2147483647 w 1746"/>
                  <a:gd name="T93" fmla="*/ 2147483647 h 3442"/>
                  <a:gd name="T94" fmla="*/ 2147483647 w 1746"/>
                  <a:gd name="T95" fmla="*/ 2147483647 h 3442"/>
                  <a:gd name="T96" fmla="*/ 2147483647 w 1746"/>
                  <a:gd name="T97" fmla="*/ 2147483647 h 3442"/>
                  <a:gd name="T98" fmla="*/ 2147483647 w 1746"/>
                  <a:gd name="T99" fmla="*/ 2147483647 h 3442"/>
                  <a:gd name="T100" fmla="*/ 2147483647 w 1746"/>
                  <a:gd name="T101" fmla="*/ 2147483647 h 3442"/>
                  <a:gd name="T102" fmla="*/ 2147483647 w 1746"/>
                  <a:gd name="T103" fmla="*/ 2147483647 h 3442"/>
                  <a:gd name="T104" fmla="*/ 2147483647 w 1746"/>
                  <a:gd name="T105" fmla="*/ 2147483647 h 3442"/>
                  <a:gd name="T106" fmla="*/ 2147483647 w 1746"/>
                  <a:gd name="T107" fmla="*/ 2147483647 h 3442"/>
                  <a:gd name="T108" fmla="*/ 2147483647 w 1746"/>
                  <a:gd name="T109" fmla="*/ 2147483647 h 3442"/>
                  <a:gd name="T110" fmla="*/ 2147483647 w 1746"/>
                  <a:gd name="T111" fmla="*/ 2147483647 h 3442"/>
                  <a:gd name="T112" fmla="*/ 2147483647 w 1746"/>
                  <a:gd name="T113" fmla="*/ 2147483647 h 3442"/>
                  <a:gd name="T114" fmla="*/ 2147483647 w 1746"/>
                  <a:gd name="T115" fmla="*/ 2147483647 h 3442"/>
                  <a:gd name="T116" fmla="*/ 2147483647 w 1746"/>
                  <a:gd name="T117" fmla="*/ 2147483647 h 3442"/>
                  <a:gd name="T118" fmla="*/ 2147483647 w 1746"/>
                  <a:gd name="T119" fmla="*/ 2147483647 h 344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746"/>
                  <a:gd name="T181" fmla="*/ 0 h 3442"/>
                  <a:gd name="T182" fmla="*/ 1746 w 1746"/>
                  <a:gd name="T183" fmla="*/ 3442 h 344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746" h="3442">
                    <a:moveTo>
                      <a:pt x="1746" y="1446"/>
                    </a:moveTo>
                    <a:lnTo>
                      <a:pt x="1746" y="1446"/>
                    </a:lnTo>
                    <a:lnTo>
                      <a:pt x="1746" y="1392"/>
                    </a:lnTo>
                    <a:lnTo>
                      <a:pt x="1746" y="1266"/>
                    </a:lnTo>
                    <a:lnTo>
                      <a:pt x="1744" y="1240"/>
                    </a:lnTo>
                    <a:lnTo>
                      <a:pt x="1738" y="1214"/>
                    </a:lnTo>
                    <a:lnTo>
                      <a:pt x="1714" y="1146"/>
                    </a:lnTo>
                    <a:lnTo>
                      <a:pt x="1706" y="1120"/>
                    </a:lnTo>
                    <a:lnTo>
                      <a:pt x="1702" y="1094"/>
                    </a:lnTo>
                    <a:lnTo>
                      <a:pt x="1694" y="1002"/>
                    </a:lnTo>
                    <a:lnTo>
                      <a:pt x="1688" y="948"/>
                    </a:lnTo>
                    <a:lnTo>
                      <a:pt x="1670" y="822"/>
                    </a:lnTo>
                    <a:lnTo>
                      <a:pt x="1668" y="794"/>
                    </a:lnTo>
                    <a:lnTo>
                      <a:pt x="1666" y="766"/>
                    </a:lnTo>
                    <a:lnTo>
                      <a:pt x="1666" y="738"/>
                    </a:lnTo>
                    <a:lnTo>
                      <a:pt x="1664" y="714"/>
                    </a:lnTo>
                    <a:lnTo>
                      <a:pt x="1662" y="704"/>
                    </a:lnTo>
                    <a:lnTo>
                      <a:pt x="1658" y="696"/>
                    </a:lnTo>
                    <a:lnTo>
                      <a:pt x="1648" y="686"/>
                    </a:lnTo>
                    <a:lnTo>
                      <a:pt x="1636" y="678"/>
                    </a:lnTo>
                    <a:lnTo>
                      <a:pt x="1616" y="668"/>
                    </a:lnTo>
                    <a:lnTo>
                      <a:pt x="1602" y="660"/>
                    </a:lnTo>
                    <a:lnTo>
                      <a:pt x="1582" y="652"/>
                    </a:lnTo>
                    <a:lnTo>
                      <a:pt x="1426" y="588"/>
                    </a:lnTo>
                    <a:lnTo>
                      <a:pt x="1416" y="582"/>
                    </a:lnTo>
                    <a:lnTo>
                      <a:pt x="1406" y="574"/>
                    </a:lnTo>
                    <a:lnTo>
                      <a:pt x="1398" y="564"/>
                    </a:lnTo>
                    <a:lnTo>
                      <a:pt x="1394" y="554"/>
                    </a:lnTo>
                    <a:lnTo>
                      <a:pt x="1392" y="542"/>
                    </a:lnTo>
                    <a:lnTo>
                      <a:pt x="1394" y="532"/>
                    </a:lnTo>
                    <a:lnTo>
                      <a:pt x="1396" y="524"/>
                    </a:lnTo>
                    <a:lnTo>
                      <a:pt x="1402" y="516"/>
                    </a:lnTo>
                    <a:lnTo>
                      <a:pt x="1416" y="500"/>
                    </a:lnTo>
                    <a:lnTo>
                      <a:pt x="1430" y="480"/>
                    </a:lnTo>
                    <a:lnTo>
                      <a:pt x="1442" y="458"/>
                    </a:lnTo>
                    <a:lnTo>
                      <a:pt x="1448" y="446"/>
                    </a:lnTo>
                    <a:lnTo>
                      <a:pt x="1452" y="432"/>
                    </a:lnTo>
                    <a:lnTo>
                      <a:pt x="1456" y="418"/>
                    </a:lnTo>
                    <a:lnTo>
                      <a:pt x="1460" y="406"/>
                    </a:lnTo>
                    <a:lnTo>
                      <a:pt x="1468" y="340"/>
                    </a:lnTo>
                    <a:lnTo>
                      <a:pt x="1470" y="312"/>
                    </a:lnTo>
                    <a:lnTo>
                      <a:pt x="1472" y="286"/>
                    </a:lnTo>
                    <a:lnTo>
                      <a:pt x="1472" y="266"/>
                    </a:lnTo>
                    <a:lnTo>
                      <a:pt x="1470" y="244"/>
                    </a:lnTo>
                    <a:lnTo>
                      <a:pt x="1466" y="234"/>
                    </a:lnTo>
                    <a:lnTo>
                      <a:pt x="1464" y="228"/>
                    </a:lnTo>
                    <a:lnTo>
                      <a:pt x="1456" y="214"/>
                    </a:lnTo>
                    <a:lnTo>
                      <a:pt x="1448" y="198"/>
                    </a:lnTo>
                    <a:lnTo>
                      <a:pt x="1440" y="182"/>
                    </a:lnTo>
                    <a:lnTo>
                      <a:pt x="1430" y="168"/>
                    </a:lnTo>
                    <a:lnTo>
                      <a:pt x="1416" y="156"/>
                    </a:lnTo>
                    <a:lnTo>
                      <a:pt x="1402" y="148"/>
                    </a:lnTo>
                    <a:lnTo>
                      <a:pt x="1366" y="138"/>
                    </a:lnTo>
                    <a:lnTo>
                      <a:pt x="1356" y="136"/>
                    </a:lnTo>
                    <a:lnTo>
                      <a:pt x="1344" y="136"/>
                    </a:lnTo>
                    <a:lnTo>
                      <a:pt x="1332" y="140"/>
                    </a:lnTo>
                    <a:lnTo>
                      <a:pt x="1320" y="142"/>
                    </a:lnTo>
                    <a:lnTo>
                      <a:pt x="1316" y="144"/>
                    </a:lnTo>
                    <a:lnTo>
                      <a:pt x="1266" y="168"/>
                    </a:lnTo>
                    <a:lnTo>
                      <a:pt x="1246" y="178"/>
                    </a:lnTo>
                    <a:lnTo>
                      <a:pt x="1236" y="184"/>
                    </a:lnTo>
                    <a:lnTo>
                      <a:pt x="1226" y="192"/>
                    </a:lnTo>
                    <a:lnTo>
                      <a:pt x="1218" y="202"/>
                    </a:lnTo>
                    <a:lnTo>
                      <a:pt x="1214" y="210"/>
                    </a:lnTo>
                    <a:lnTo>
                      <a:pt x="1196" y="254"/>
                    </a:lnTo>
                    <a:lnTo>
                      <a:pt x="1188" y="274"/>
                    </a:lnTo>
                    <a:lnTo>
                      <a:pt x="1180" y="294"/>
                    </a:lnTo>
                    <a:lnTo>
                      <a:pt x="1176" y="298"/>
                    </a:lnTo>
                    <a:lnTo>
                      <a:pt x="1174" y="300"/>
                    </a:lnTo>
                    <a:lnTo>
                      <a:pt x="1168" y="302"/>
                    </a:lnTo>
                    <a:lnTo>
                      <a:pt x="1166" y="306"/>
                    </a:lnTo>
                    <a:lnTo>
                      <a:pt x="1164" y="316"/>
                    </a:lnTo>
                    <a:lnTo>
                      <a:pt x="1160" y="330"/>
                    </a:lnTo>
                    <a:lnTo>
                      <a:pt x="1156" y="340"/>
                    </a:lnTo>
                    <a:lnTo>
                      <a:pt x="1156" y="348"/>
                    </a:lnTo>
                    <a:lnTo>
                      <a:pt x="1156" y="358"/>
                    </a:lnTo>
                    <a:lnTo>
                      <a:pt x="1160" y="368"/>
                    </a:lnTo>
                    <a:lnTo>
                      <a:pt x="1164" y="382"/>
                    </a:lnTo>
                    <a:lnTo>
                      <a:pt x="1166" y="392"/>
                    </a:lnTo>
                    <a:lnTo>
                      <a:pt x="1168" y="392"/>
                    </a:lnTo>
                    <a:lnTo>
                      <a:pt x="1170" y="394"/>
                    </a:lnTo>
                    <a:lnTo>
                      <a:pt x="1180" y="392"/>
                    </a:lnTo>
                    <a:lnTo>
                      <a:pt x="1186" y="390"/>
                    </a:lnTo>
                    <a:lnTo>
                      <a:pt x="1190" y="396"/>
                    </a:lnTo>
                    <a:lnTo>
                      <a:pt x="1192" y="402"/>
                    </a:lnTo>
                    <a:lnTo>
                      <a:pt x="1194" y="412"/>
                    </a:lnTo>
                    <a:lnTo>
                      <a:pt x="1194" y="440"/>
                    </a:lnTo>
                    <a:lnTo>
                      <a:pt x="1192" y="452"/>
                    </a:lnTo>
                    <a:lnTo>
                      <a:pt x="1190" y="464"/>
                    </a:lnTo>
                    <a:lnTo>
                      <a:pt x="1186" y="476"/>
                    </a:lnTo>
                    <a:lnTo>
                      <a:pt x="1180" y="486"/>
                    </a:lnTo>
                    <a:lnTo>
                      <a:pt x="1152" y="522"/>
                    </a:lnTo>
                    <a:lnTo>
                      <a:pt x="1136" y="540"/>
                    </a:lnTo>
                    <a:lnTo>
                      <a:pt x="1114" y="556"/>
                    </a:lnTo>
                    <a:lnTo>
                      <a:pt x="1106" y="562"/>
                    </a:lnTo>
                    <a:lnTo>
                      <a:pt x="1082" y="576"/>
                    </a:lnTo>
                    <a:lnTo>
                      <a:pt x="1056" y="586"/>
                    </a:lnTo>
                    <a:lnTo>
                      <a:pt x="970" y="616"/>
                    </a:lnTo>
                    <a:lnTo>
                      <a:pt x="958" y="618"/>
                    </a:lnTo>
                    <a:lnTo>
                      <a:pt x="944" y="620"/>
                    </a:lnTo>
                    <a:lnTo>
                      <a:pt x="930" y="618"/>
                    </a:lnTo>
                    <a:lnTo>
                      <a:pt x="918" y="614"/>
                    </a:lnTo>
                    <a:lnTo>
                      <a:pt x="844" y="578"/>
                    </a:lnTo>
                    <a:lnTo>
                      <a:pt x="794" y="554"/>
                    </a:lnTo>
                    <a:lnTo>
                      <a:pt x="732" y="528"/>
                    </a:lnTo>
                    <a:lnTo>
                      <a:pt x="708" y="518"/>
                    </a:lnTo>
                    <a:lnTo>
                      <a:pt x="680" y="510"/>
                    </a:lnTo>
                    <a:lnTo>
                      <a:pt x="632" y="498"/>
                    </a:lnTo>
                    <a:lnTo>
                      <a:pt x="622" y="494"/>
                    </a:lnTo>
                    <a:lnTo>
                      <a:pt x="612" y="488"/>
                    </a:lnTo>
                    <a:lnTo>
                      <a:pt x="604" y="478"/>
                    </a:lnTo>
                    <a:lnTo>
                      <a:pt x="598" y="468"/>
                    </a:lnTo>
                    <a:lnTo>
                      <a:pt x="586" y="450"/>
                    </a:lnTo>
                    <a:lnTo>
                      <a:pt x="578" y="440"/>
                    </a:lnTo>
                    <a:lnTo>
                      <a:pt x="574" y="434"/>
                    </a:lnTo>
                    <a:lnTo>
                      <a:pt x="572" y="426"/>
                    </a:lnTo>
                    <a:lnTo>
                      <a:pt x="570" y="406"/>
                    </a:lnTo>
                    <a:lnTo>
                      <a:pt x="570" y="340"/>
                    </a:lnTo>
                    <a:lnTo>
                      <a:pt x="572" y="328"/>
                    </a:lnTo>
                    <a:lnTo>
                      <a:pt x="574" y="314"/>
                    </a:lnTo>
                    <a:lnTo>
                      <a:pt x="578" y="300"/>
                    </a:lnTo>
                    <a:lnTo>
                      <a:pt x="584" y="288"/>
                    </a:lnTo>
                    <a:lnTo>
                      <a:pt x="588" y="278"/>
                    </a:lnTo>
                    <a:lnTo>
                      <a:pt x="594" y="264"/>
                    </a:lnTo>
                    <a:lnTo>
                      <a:pt x="596" y="252"/>
                    </a:lnTo>
                    <a:lnTo>
                      <a:pt x="596" y="240"/>
                    </a:lnTo>
                    <a:lnTo>
                      <a:pt x="596" y="210"/>
                    </a:lnTo>
                    <a:lnTo>
                      <a:pt x="596" y="206"/>
                    </a:lnTo>
                    <a:lnTo>
                      <a:pt x="594" y="204"/>
                    </a:lnTo>
                    <a:lnTo>
                      <a:pt x="584" y="196"/>
                    </a:lnTo>
                    <a:lnTo>
                      <a:pt x="578" y="192"/>
                    </a:lnTo>
                    <a:lnTo>
                      <a:pt x="572" y="184"/>
                    </a:lnTo>
                    <a:lnTo>
                      <a:pt x="568" y="176"/>
                    </a:lnTo>
                    <a:lnTo>
                      <a:pt x="566" y="164"/>
                    </a:lnTo>
                    <a:lnTo>
                      <a:pt x="560" y="146"/>
                    </a:lnTo>
                    <a:lnTo>
                      <a:pt x="548" y="94"/>
                    </a:lnTo>
                    <a:lnTo>
                      <a:pt x="540" y="72"/>
                    </a:lnTo>
                    <a:lnTo>
                      <a:pt x="528" y="52"/>
                    </a:lnTo>
                    <a:lnTo>
                      <a:pt x="516" y="38"/>
                    </a:lnTo>
                    <a:lnTo>
                      <a:pt x="510" y="34"/>
                    </a:lnTo>
                    <a:lnTo>
                      <a:pt x="506" y="34"/>
                    </a:lnTo>
                    <a:lnTo>
                      <a:pt x="498" y="32"/>
                    </a:lnTo>
                    <a:lnTo>
                      <a:pt x="486" y="28"/>
                    </a:lnTo>
                    <a:lnTo>
                      <a:pt x="476" y="24"/>
                    </a:lnTo>
                    <a:lnTo>
                      <a:pt x="466" y="22"/>
                    </a:lnTo>
                    <a:lnTo>
                      <a:pt x="454" y="20"/>
                    </a:lnTo>
                    <a:lnTo>
                      <a:pt x="438" y="10"/>
                    </a:lnTo>
                    <a:lnTo>
                      <a:pt x="428" y="6"/>
                    </a:lnTo>
                    <a:lnTo>
                      <a:pt x="416" y="2"/>
                    </a:lnTo>
                    <a:lnTo>
                      <a:pt x="404" y="0"/>
                    </a:lnTo>
                    <a:lnTo>
                      <a:pt x="390" y="0"/>
                    </a:lnTo>
                    <a:lnTo>
                      <a:pt x="388" y="0"/>
                    </a:lnTo>
                    <a:lnTo>
                      <a:pt x="348" y="0"/>
                    </a:lnTo>
                    <a:lnTo>
                      <a:pt x="332" y="2"/>
                    </a:lnTo>
                    <a:lnTo>
                      <a:pt x="314" y="10"/>
                    </a:lnTo>
                    <a:lnTo>
                      <a:pt x="292" y="24"/>
                    </a:lnTo>
                    <a:lnTo>
                      <a:pt x="272" y="40"/>
                    </a:lnTo>
                    <a:lnTo>
                      <a:pt x="252" y="58"/>
                    </a:lnTo>
                    <a:lnTo>
                      <a:pt x="238" y="76"/>
                    </a:lnTo>
                    <a:lnTo>
                      <a:pt x="228" y="94"/>
                    </a:lnTo>
                    <a:lnTo>
                      <a:pt x="226" y="100"/>
                    </a:lnTo>
                    <a:lnTo>
                      <a:pt x="224" y="106"/>
                    </a:lnTo>
                    <a:lnTo>
                      <a:pt x="222" y="120"/>
                    </a:lnTo>
                    <a:lnTo>
                      <a:pt x="216" y="136"/>
                    </a:lnTo>
                    <a:lnTo>
                      <a:pt x="214" y="146"/>
                    </a:lnTo>
                    <a:lnTo>
                      <a:pt x="212" y="158"/>
                    </a:lnTo>
                    <a:lnTo>
                      <a:pt x="212" y="170"/>
                    </a:lnTo>
                    <a:lnTo>
                      <a:pt x="214" y="182"/>
                    </a:lnTo>
                    <a:lnTo>
                      <a:pt x="220" y="224"/>
                    </a:lnTo>
                    <a:lnTo>
                      <a:pt x="224" y="250"/>
                    </a:lnTo>
                    <a:lnTo>
                      <a:pt x="224" y="276"/>
                    </a:lnTo>
                    <a:lnTo>
                      <a:pt x="226" y="298"/>
                    </a:lnTo>
                    <a:lnTo>
                      <a:pt x="230" y="318"/>
                    </a:lnTo>
                    <a:lnTo>
                      <a:pt x="240" y="334"/>
                    </a:lnTo>
                    <a:lnTo>
                      <a:pt x="250" y="348"/>
                    </a:lnTo>
                    <a:lnTo>
                      <a:pt x="262" y="362"/>
                    </a:lnTo>
                    <a:lnTo>
                      <a:pt x="272" y="378"/>
                    </a:lnTo>
                    <a:lnTo>
                      <a:pt x="282" y="398"/>
                    </a:lnTo>
                    <a:lnTo>
                      <a:pt x="298" y="418"/>
                    </a:lnTo>
                    <a:lnTo>
                      <a:pt x="304" y="424"/>
                    </a:lnTo>
                    <a:lnTo>
                      <a:pt x="310" y="434"/>
                    </a:lnTo>
                    <a:lnTo>
                      <a:pt x="316" y="446"/>
                    </a:lnTo>
                    <a:lnTo>
                      <a:pt x="320" y="460"/>
                    </a:lnTo>
                    <a:lnTo>
                      <a:pt x="322" y="472"/>
                    </a:lnTo>
                    <a:lnTo>
                      <a:pt x="322" y="502"/>
                    </a:lnTo>
                    <a:lnTo>
                      <a:pt x="320" y="526"/>
                    </a:lnTo>
                    <a:lnTo>
                      <a:pt x="318" y="538"/>
                    </a:lnTo>
                    <a:lnTo>
                      <a:pt x="314" y="548"/>
                    </a:lnTo>
                    <a:lnTo>
                      <a:pt x="308" y="556"/>
                    </a:lnTo>
                    <a:lnTo>
                      <a:pt x="300" y="564"/>
                    </a:lnTo>
                    <a:lnTo>
                      <a:pt x="292" y="570"/>
                    </a:lnTo>
                    <a:lnTo>
                      <a:pt x="280" y="576"/>
                    </a:lnTo>
                    <a:lnTo>
                      <a:pt x="220" y="602"/>
                    </a:lnTo>
                    <a:lnTo>
                      <a:pt x="200" y="610"/>
                    </a:lnTo>
                    <a:lnTo>
                      <a:pt x="190" y="614"/>
                    </a:lnTo>
                    <a:lnTo>
                      <a:pt x="178" y="618"/>
                    </a:lnTo>
                    <a:lnTo>
                      <a:pt x="160" y="628"/>
                    </a:lnTo>
                    <a:lnTo>
                      <a:pt x="150" y="634"/>
                    </a:lnTo>
                    <a:lnTo>
                      <a:pt x="128" y="652"/>
                    </a:lnTo>
                    <a:lnTo>
                      <a:pt x="110" y="670"/>
                    </a:lnTo>
                    <a:lnTo>
                      <a:pt x="104" y="678"/>
                    </a:lnTo>
                    <a:lnTo>
                      <a:pt x="86" y="696"/>
                    </a:lnTo>
                    <a:lnTo>
                      <a:pt x="70" y="710"/>
                    </a:lnTo>
                    <a:lnTo>
                      <a:pt x="66" y="716"/>
                    </a:lnTo>
                    <a:lnTo>
                      <a:pt x="60" y="724"/>
                    </a:lnTo>
                    <a:lnTo>
                      <a:pt x="58" y="732"/>
                    </a:lnTo>
                    <a:lnTo>
                      <a:pt x="56" y="740"/>
                    </a:lnTo>
                    <a:lnTo>
                      <a:pt x="56" y="786"/>
                    </a:lnTo>
                    <a:lnTo>
                      <a:pt x="56" y="802"/>
                    </a:lnTo>
                    <a:lnTo>
                      <a:pt x="58" y="858"/>
                    </a:lnTo>
                    <a:lnTo>
                      <a:pt x="70" y="958"/>
                    </a:lnTo>
                    <a:lnTo>
                      <a:pt x="70" y="986"/>
                    </a:lnTo>
                    <a:lnTo>
                      <a:pt x="68" y="1014"/>
                    </a:lnTo>
                    <a:lnTo>
                      <a:pt x="48" y="1116"/>
                    </a:lnTo>
                    <a:lnTo>
                      <a:pt x="38" y="1170"/>
                    </a:lnTo>
                    <a:lnTo>
                      <a:pt x="6" y="1344"/>
                    </a:lnTo>
                    <a:lnTo>
                      <a:pt x="2" y="1370"/>
                    </a:lnTo>
                    <a:lnTo>
                      <a:pt x="0" y="1396"/>
                    </a:lnTo>
                    <a:lnTo>
                      <a:pt x="0" y="1444"/>
                    </a:lnTo>
                    <a:lnTo>
                      <a:pt x="2" y="1470"/>
                    </a:lnTo>
                    <a:lnTo>
                      <a:pt x="8" y="1494"/>
                    </a:lnTo>
                    <a:lnTo>
                      <a:pt x="16" y="1518"/>
                    </a:lnTo>
                    <a:lnTo>
                      <a:pt x="28" y="1542"/>
                    </a:lnTo>
                    <a:lnTo>
                      <a:pt x="30" y="1542"/>
                    </a:lnTo>
                    <a:lnTo>
                      <a:pt x="60" y="1588"/>
                    </a:lnTo>
                    <a:lnTo>
                      <a:pt x="70" y="1602"/>
                    </a:lnTo>
                    <a:lnTo>
                      <a:pt x="76" y="1614"/>
                    </a:lnTo>
                    <a:lnTo>
                      <a:pt x="82" y="1626"/>
                    </a:lnTo>
                    <a:lnTo>
                      <a:pt x="88" y="1640"/>
                    </a:lnTo>
                    <a:lnTo>
                      <a:pt x="90" y="1652"/>
                    </a:lnTo>
                    <a:lnTo>
                      <a:pt x="92" y="1660"/>
                    </a:lnTo>
                    <a:lnTo>
                      <a:pt x="96" y="1688"/>
                    </a:lnTo>
                    <a:lnTo>
                      <a:pt x="98" y="1714"/>
                    </a:lnTo>
                    <a:lnTo>
                      <a:pt x="98" y="1804"/>
                    </a:lnTo>
                    <a:lnTo>
                      <a:pt x="100" y="1830"/>
                    </a:lnTo>
                    <a:lnTo>
                      <a:pt x="104" y="1858"/>
                    </a:lnTo>
                    <a:lnTo>
                      <a:pt x="120" y="1924"/>
                    </a:lnTo>
                    <a:lnTo>
                      <a:pt x="132" y="1978"/>
                    </a:lnTo>
                    <a:lnTo>
                      <a:pt x="136" y="1996"/>
                    </a:lnTo>
                    <a:lnTo>
                      <a:pt x="138" y="2022"/>
                    </a:lnTo>
                    <a:lnTo>
                      <a:pt x="140" y="2050"/>
                    </a:lnTo>
                    <a:lnTo>
                      <a:pt x="140" y="2056"/>
                    </a:lnTo>
                    <a:lnTo>
                      <a:pt x="140" y="2102"/>
                    </a:lnTo>
                    <a:lnTo>
                      <a:pt x="142" y="2124"/>
                    </a:lnTo>
                    <a:lnTo>
                      <a:pt x="144" y="2148"/>
                    </a:lnTo>
                    <a:lnTo>
                      <a:pt x="164" y="2262"/>
                    </a:lnTo>
                    <a:lnTo>
                      <a:pt x="172" y="2318"/>
                    </a:lnTo>
                    <a:lnTo>
                      <a:pt x="180" y="2418"/>
                    </a:lnTo>
                    <a:lnTo>
                      <a:pt x="184" y="2472"/>
                    </a:lnTo>
                    <a:lnTo>
                      <a:pt x="194" y="2660"/>
                    </a:lnTo>
                    <a:lnTo>
                      <a:pt x="198" y="2686"/>
                    </a:lnTo>
                    <a:lnTo>
                      <a:pt x="206" y="2712"/>
                    </a:lnTo>
                    <a:lnTo>
                      <a:pt x="254" y="2842"/>
                    </a:lnTo>
                    <a:lnTo>
                      <a:pt x="256" y="2854"/>
                    </a:lnTo>
                    <a:lnTo>
                      <a:pt x="258" y="2868"/>
                    </a:lnTo>
                    <a:lnTo>
                      <a:pt x="256" y="2880"/>
                    </a:lnTo>
                    <a:lnTo>
                      <a:pt x="254" y="2892"/>
                    </a:lnTo>
                    <a:lnTo>
                      <a:pt x="234" y="2938"/>
                    </a:lnTo>
                    <a:lnTo>
                      <a:pt x="222" y="2962"/>
                    </a:lnTo>
                    <a:lnTo>
                      <a:pt x="206" y="2984"/>
                    </a:lnTo>
                    <a:lnTo>
                      <a:pt x="200" y="2990"/>
                    </a:lnTo>
                    <a:lnTo>
                      <a:pt x="194" y="3000"/>
                    </a:lnTo>
                    <a:lnTo>
                      <a:pt x="188" y="3014"/>
                    </a:lnTo>
                    <a:lnTo>
                      <a:pt x="184" y="3026"/>
                    </a:lnTo>
                    <a:lnTo>
                      <a:pt x="182" y="3038"/>
                    </a:lnTo>
                    <a:lnTo>
                      <a:pt x="182" y="3094"/>
                    </a:lnTo>
                    <a:lnTo>
                      <a:pt x="184" y="3104"/>
                    </a:lnTo>
                    <a:lnTo>
                      <a:pt x="190" y="3114"/>
                    </a:lnTo>
                    <a:lnTo>
                      <a:pt x="200" y="3120"/>
                    </a:lnTo>
                    <a:lnTo>
                      <a:pt x="210" y="3124"/>
                    </a:lnTo>
                    <a:lnTo>
                      <a:pt x="252" y="3128"/>
                    </a:lnTo>
                    <a:lnTo>
                      <a:pt x="264" y="3128"/>
                    </a:lnTo>
                    <a:lnTo>
                      <a:pt x="278" y="3126"/>
                    </a:lnTo>
                    <a:lnTo>
                      <a:pt x="290" y="3120"/>
                    </a:lnTo>
                    <a:lnTo>
                      <a:pt x="300" y="3114"/>
                    </a:lnTo>
                    <a:lnTo>
                      <a:pt x="314" y="3102"/>
                    </a:lnTo>
                    <a:lnTo>
                      <a:pt x="348" y="3072"/>
                    </a:lnTo>
                    <a:lnTo>
                      <a:pt x="360" y="3060"/>
                    </a:lnTo>
                    <a:lnTo>
                      <a:pt x="368" y="3048"/>
                    </a:lnTo>
                    <a:lnTo>
                      <a:pt x="372" y="3042"/>
                    </a:lnTo>
                    <a:lnTo>
                      <a:pt x="374" y="3034"/>
                    </a:lnTo>
                    <a:lnTo>
                      <a:pt x="376" y="3018"/>
                    </a:lnTo>
                    <a:lnTo>
                      <a:pt x="378" y="3000"/>
                    </a:lnTo>
                    <a:lnTo>
                      <a:pt x="384" y="2982"/>
                    </a:lnTo>
                    <a:lnTo>
                      <a:pt x="390" y="2968"/>
                    </a:lnTo>
                    <a:lnTo>
                      <a:pt x="394" y="2964"/>
                    </a:lnTo>
                    <a:lnTo>
                      <a:pt x="396" y="2964"/>
                    </a:lnTo>
                    <a:lnTo>
                      <a:pt x="406" y="2958"/>
                    </a:lnTo>
                    <a:lnTo>
                      <a:pt x="424" y="2946"/>
                    </a:lnTo>
                    <a:lnTo>
                      <a:pt x="424" y="2944"/>
                    </a:lnTo>
                    <a:lnTo>
                      <a:pt x="432" y="2936"/>
                    </a:lnTo>
                    <a:lnTo>
                      <a:pt x="440" y="2926"/>
                    </a:lnTo>
                    <a:lnTo>
                      <a:pt x="448" y="2914"/>
                    </a:lnTo>
                    <a:lnTo>
                      <a:pt x="452" y="2902"/>
                    </a:lnTo>
                    <a:lnTo>
                      <a:pt x="454" y="2892"/>
                    </a:lnTo>
                    <a:lnTo>
                      <a:pt x="452" y="2878"/>
                    </a:lnTo>
                    <a:lnTo>
                      <a:pt x="450" y="2866"/>
                    </a:lnTo>
                    <a:lnTo>
                      <a:pt x="446" y="2854"/>
                    </a:lnTo>
                    <a:lnTo>
                      <a:pt x="442" y="2844"/>
                    </a:lnTo>
                    <a:lnTo>
                      <a:pt x="438" y="2832"/>
                    </a:lnTo>
                    <a:lnTo>
                      <a:pt x="434" y="2818"/>
                    </a:lnTo>
                    <a:lnTo>
                      <a:pt x="432" y="2804"/>
                    </a:lnTo>
                    <a:lnTo>
                      <a:pt x="432" y="2792"/>
                    </a:lnTo>
                    <a:lnTo>
                      <a:pt x="432" y="2762"/>
                    </a:lnTo>
                    <a:lnTo>
                      <a:pt x="432" y="2708"/>
                    </a:lnTo>
                    <a:lnTo>
                      <a:pt x="432" y="2700"/>
                    </a:lnTo>
                    <a:lnTo>
                      <a:pt x="430" y="2674"/>
                    </a:lnTo>
                    <a:lnTo>
                      <a:pt x="424" y="2646"/>
                    </a:lnTo>
                    <a:lnTo>
                      <a:pt x="410" y="2592"/>
                    </a:lnTo>
                    <a:lnTo>
                      <a:pt x="404" y="2566"/>
                    </a:lnTo>
                    <a:lnTo>
                      <a:pt x="402" y="2538"/>
                    </a:lnTo>
                    <a:lnTo>
                      <a:pt x="402" y="2472"/>
                    </a:lnTo>
                    <a:lnTo>
                      <a:pt x="400" y="2418"/>
                    </a:lnTo>
                    <a:lnTo>
                      <a:pt x="392" y="2304"/>
                    </a:lnTo>
                    <a:lnTo>
                      <a:pt x="392" y="2276"/>
                    </a:lnTo>
                    <a:lnTo>
                      <a:pt x="396" y="2250"/>
                    </a:lnTo>
                    <a:lnTo>
                      <a:pt x="412" y="2160"/>
                    </a:lnTo>
                    <a:lnTo>
                      <a:pt x="416" y="2132"/>
                    </a:lnTo>
                    <a:lnTo>
                      <a:pt x="418" y="2104"/>
                    </a:lnTo>
                    <a:lnTo>
                      <a:pt x="418" y="2038"/>
                    </a:lnTo>
                    <a:lnTo>
                      <a:pt x="418" y="1984"/>
                    </a:lnTo>
                    <a:lnTo>
                      <a:pt x="418" y="1980"/>
                    </a:lnTo>
                    <a:lnTo>
                      <a:pt x="420" y="1956"/>
                    </a:lnTo>
                    <a:lnTo>
                      <a:pt x="422" y="1946"/>
                    </a:lnTo>
                    <a:lnTo>
                      <a:pt x="426" y="1938"/>
                    </a:lnTo>
                    <a:lnTo>
                      <a:pt x="428" y="1936"/>
                    </a:lnTo>
                    <a:lnTo>
                      <a:pt x="432" y="1934"/>
                    </a:lnTo>
                    <a:lnTo>
                      <a:pt x="436" y="1936"/>
                    </a:lnTo>
                    <a:lnTo>
                      <a:pt x="438" y="1938"/>
                    </a:lnTo>
                    <a:lnTo>
                      <a:pt x="446" y="1956"/>
                    </a:lnTo>
                    <a:lnTo>
                      <a:pt x="454" y="1978"/>
                    </a:lnTo>
                    <a:lnTo>
                      <a:pt x="492" y="2094"/>
                    </a:lnTo>
                    <a:lnTo>
                      <a:pt x="506" y="2144"/>
                    </a:lnTo>
                    <a:lnTo>
                      <a:pt x="512" y="2166"/>
                    </a:lnTo>
                    <a:lnTo>
                      <a:pt x="514" y="2186"/>
                    </a:lnTo>
                    <a:lnTo>
                      <a:pt x="514" y="2216"/>
                    </a:lnTo>
                    <a:lnTo>
                      <a:pt x="514" y="2256"/>
                    </a:lnTo>
                    <a:lnTo>
                      <a:pt x="514" y="2564"/>
                    </a:lnTo>
                    <a:lnTo>
                      <a:pt x="514" y="2618"/>
                    </a:lnTo>
                    <a:lnTo>
                      <a:pt x="514" y="2730"/>
                    </a:lnTo>
                    <a:lnTo>
                      <a:pt x="514" y="2758"/>
                    </a:lnTo>
                    <a:lnTo>
                      <a:pt x="518" y="2784"/>
                    </a:lnTo>
                    <a:lnTo>
                      <a:pt x="538" y="2924"/>
                    </a:lnTo>
                    <a:lnTo>
                      <a:pt x="546" y="2978"/>
                    </a:lnTo>
                    <a:lnTo>
                      <a:pt x="550" y="3010"/>
                    </a:lnTo>
                    <a:lnTo>
                      <a:pt x="556" y="3032"/>
                    </a:lnTo>
                    <a:lnTo>
                      <a:pt x="562" y="3048"/>
                    </a:lnTo>
                    <a:lnTo>
                      <a:pt x="578" y="3072"/>
                    </a:lnTo>
                    <a:lnTo>
                      <a:pt x="580" y="3076"/>
                    </a:lnTo>
                    <a:lnTo>
                      <a:pt x="580" y="3082"/>
                    </a:lnTo>
                    <a:lnTo>
                      <a:pt x="580" y="3086"/>
                    </a:lnTo>
                    <a:lnTo>
                      <a:pt x="578" y="3090"/>
                    </a:lnTo>
                    <a:lnTo>
                      <a:pt x="574" y="3094"/>
                    </a:lnTo>
                    <a:lnTo>
                      <a:pt x="572" y="3100"/>
                    </a:lnTo>
                    <a:lnTo>
                      <a:pt x="570" y="3114"/>
                    </a:lnTo>
                    <a:lnTo>
                      <a:pt x="570" y="3144"/>
                    </a:lnTo>
                    <a:lnTo>
                      <a:pt x="570" y="3168"/>
                    </a:lnTo>
                    <a:lnTo>
                      <a:pt x="572" y="3174"/>
                    </a:lnTo>
                    <a:lnTo>
                      <a:pt x="576" y="3182"/>
                    </a:lnTo>
                    <a:lnTo>
                      <a:pt x="588" y="3202"/>
                    </a:lnTo>
                    <a:lnTo>
                      <a:pt x="592" y="3206"/>
                    </a:lnTo>
                    <a:lnTo>
                      <a:pt x="600" y="3214"/>
                    </a:lnTo>
                    <a:lnTo>
                      <a:pt x="610" y="3222"/>
                    </a:lnTo>
                    <a:lnTo>
                      <a:pt x="618" y="3226"/>
                    </a:lnTo>
                    <a:lnTo>
                      <a:pt x="624" y="3228"/>
                    </a:lnTo>
                    <a:lnTo>
                      <a:pt x="630" y="3230"/>
                    </a:lnTo>
                    <a:lnTo>
                      <a:pt x="634" y="3236"/>
                    </a:lnTo>
                    <a:lnTo>
                      <a:pt x="638" y="3244"/>
                    </a:lnTo>
                    <a:lnTo>
                      <a:pt x="638" y="3256"/>
                    </a:lnTo>
                    <a:lnTo>
                      <a:pt x="638" y="3262"/>
                    </a:lnTo>
                    <a:lnTo>
                      <a:pt x="638" y="3308"/>
                    </a:lnTo>
                    <a:lnTo>
                      <a:pt x="640" y="3324"/>
                    </a:lnTo>
                    <a:lnTo>
                      <a:pt x="646" y="3338"/>
                    </a:lnTo>
                    <a:lnTo>
                      <a:pt x="666" y="3368"/>
                    </a:lnTo>
                    <a:lnTo>
                      <a:pt x="682" y="3386"/>
                    </a:lnTo>
                    <a:lnTo>
                      <a:pt x="702" y="3404"/>
                    </a:lnTo>
                    <a:lnTo>
                      <a:pt x="716" y="3416"/>
                    </a:lnTo>
                    <a:lnTo>
                      <a:pt x="742" y="3440"/>
                    </a:lnTo>
                    <a:lnTo>
                      <a:pt x="748" y="3442"/>
                    </a:lnTo>
                    <a:lnTo>
                      <a:pt x="756" y="3442"/>
                    </a:lnTo>
                    <a:lnTo>
                      <a:pt x="776" y="3442"/>
                    </a:lnTo>
                    <a:lnTo>
                      <a:pt x="848" y="3436"/>
                    </a:lnTo>
                    <a:lnTo>
                      <a:pt x="858" y="3434"/>
                    </a:lnTo>
                    <a:lnTo>
                      <a:pt x="868" y="3426"/>
                    </a:lnTo>
                    <a:lnTo>
                      <a:pt x="874" y="3418"/>
                    </a:lnTo>
                    <a:lnTo>
                      <a:pt x="876" y="3406"/>
                    </a:lnTo>
                    <a:lnTo>
                      <a:pt x="876" y="3354"/>
                    </a:lnTo>
                    <a:lnTo>
                      <a:pt x="874" y="3342"/>
                    </a:lnTo>
                    <a:lnTo>
                      <a:pt x="872" y="3328"/>
                    </a:lnTo>
                    <a:lnTo>
                      <a:pt x="866" y="3318"/>
                    </a:lnTo>
                    <a:lnTo>
                      <a:pt x="862" y="3308"/>
                    </a:lnTo>
                    <a:lnTo>
                      <a:pt x="848" y="3288"/>
                    </a:lnTo>
                    <a:lnTo>
                      <a:pt x="836" y="3264"/>
                    </a:lnTo>
                    <a:lnTo>
                      <a:pt x="802" y="3194"/>
                    </a:lnTo>
                    <a:lnTo>
                      <a:pt x="792" y="3170"/>
                    </a:lnTo>
                    <a:lnTo>
                      <a:pt x="784" y="3144"/>
                    </a:lnTo>
                    <a:lnTo>
                      <a:pt x="782" y="3134"/>
                    </a:lnTo>
                    <a:lnTo>
                      <a:pt x="782" y="3120"/>
                    </a:lnTo>
                    <a:lnTo>
                      <a:pt x="782" y="3106"/>
                    </a:lnTo>
                    <a:lnTo>
                      <a:pt x="782" y="3094"/>
                    </a:lnTo>
                    <a:lnTo>
                      <a:pt x="788" y="3064"/>
                    </a:lnTo>
                    <a:lnTo>
                      <a:pt x="790" y="3036"/>
                    </a:lnTo>
                    <a:lnTo>
                      <a:pt x="792" y="3010"/>
                    </a:lnTo>
                    <a:lnTo>
                      <a:pt x="792" y="2932"/>
                    </a:lnTo>
                    <a:lnTo>
                      <a:pt x="792" y="2904"/>
                    </a:lnTo>
                    <a:lnTo>
                      <a:pt x="796" y="2876"/>
                    </a:lnTo>
                    <a:lnTo>
                      <a:pt x="816" y="2750"/>
                    </a:lnTo>
                    <a:lnTo>
                      <a:pt x="818" y="2724"/>
                    </a:lnTo>
                    <a:lnTo>
                      <a:pt x="816" y="2696"/>
                    </a:lnTo>
                    <a:lnTo>
                      <a:pt x="796" y="2594"/>
                    </a:lnTo>
                    <a:lnTo>
                      <a:pt x="792" y="2566"/>
                    </a:lnTo>
                    <a:lnTo>
                      <a:pt x="792" y="2538"/>
                    </a:lnTo>
                    <a:lnTo>
                      <a:pt x="792" y="2462"/>
                    </a:lnTo>
                    <a:lnTo>
                      <a:pt x="790" y="2406"/>
                    </a:lnTo>
                    <a:lnTo>
                      <a:pt x="780" y="2280"/>
                    </a:lnTo>
                    <a:lnTo>
                      <a:pt x="780" y="2254"/>
                    </a:lnTo>
                    <a:lnTo>
                      <a:pt x="782" y="2226"/>
                    </a:lnTo>
                    <a:lnTo>
                      <a:pt x="788" y="2196"/>
                    </a:lnTo>
                    <a:lnTo>
                      <a:pt x="794" y="2142"/>
                    </a:lnTo>
                    <a:lnTo>
                      <a:pt x="800" y="2086"/>
                    </a:lnTo>
                    <a:lnTo>
                      <a:pt x="804" y="2060"/>
                    </a:lnTo>
                    <a:lnTo>
                      <a:pt x="804" y="2032"/>
                    </a:lnTo>
                    <a:lnTo>
                      <a:pt x="804" y="1894"/>
                    </a:lnTo>
                    <a:lnTo>
                      <a:pt x="804" y="1868"/>
                    </a:lnTo>
                    <a:lnTo>
                      <a:pt x="800" y="1840"/>
                    </a:lnTo>
                    <a:lnTo>
                      <a:pt x="794" y="1784"/>
                    </a:lnTo>
                    <a:lnTo>
                      <a:pt x="790" y="1758"/>
                    </a:lnTo>
                    <a:lnTo>
                      <a:pt x="782" y="1732"/>
                    </a:lnTo>
                    <a:lnTo>
                      <a:pt x="772" y="1700"/>
                    </a:lnTo>
                    <a:lnTo>
                      <a:pt x="764" y="1678"/>
                    </a:lnTo>
                    <a:lnTo>
                      <a:pt x="762" y="1662"/>
                    </a:lnTo>
                    <a:lnTo>
                      <a:pt x="764" y="1656"/>
                    </a:lnTo>
                    <a:lnTo>
                      <a:pt x="766" y="1650"/>
                    </a:lnTo>
                    <a:lnTo>
                      <a:pt x="772" y="1644"/>
                    </a:lnTo>
                    <a:lnTo>
                      <a:pt x="776" y="1638"/>
                    </a:lnTo>
                    <a:lnTo>
                      <a:pt x="784" y="1634"/>
                    </a:lnTo>
                    <a:lnTo>
                      <a:pt x="792" y="1630"/>
                    </a:lnTo>
                    <a:lnTo>
                      <a:pt x="800" y="1630"/>
                    </a:lnTo>
                    <a:lnTo>
                      <a:pt x="806" y="1632"/>
                    </a:lnTo>
                    <a:lnTo>
                      <a:pt x="812" y="1634"/>
                    </a:lnTo>
                    <a:lnTo>
                      <a:pt x="818" y="1634"/>
                    </a:lnTo>
                    <a:lnTo>
                      <a:pt x="822" y="1630"/>
                    </a:lnTo>
                    <a:lnTo>
                      <a:pt x="826" y="1626"/>
                    </a:lnTo>
                    <a:lnTo>
                      <a:pt x="836" y="1614"/>
                    </a:lnTo>
                    <a:lnTo>
                      <a:pt x="846" y="1602"/>
                    </a:lnTo>
                    <a:lnTo>
                      <a:pt x="852" y="1598"/>
                    </a:lnTo>
                    <a:lnTo>
                      <a:pt x="860" y="1600"/>
                    </a:lnTo>
                    <a:lnTo>
                      <a:pt x="868" y="1604"/>
                    </a:lnTo>
                    <a:lnTo>
                      <a:pt x="874" y="1612"/>
                    </a:lnTo>
                    <a:lnTo>
                      <a:pt x="902" y="1650"/>
                    </a:lnTo>
                    <a:lnTo>
                      <a:pt x="914" y="1666"/>
                    </a:lnTo>
                    <a:lnTo>
                      <a:pt x="920" y="1672"/>
                    </a:lnTo>
                    <a:lnTo>
                      <a:pt x="924" y="1674"/>
                    </a:lnTo>
                    <a:lnTo>
                      <a:pt x="926" y="1674"/>
                    </a:lnTo>
                    <a:lnTo>
                      <a:pt x="930" y="1678"/>
                    </a:lnTo>
                    <a:lnTo>
                      <a:pt x="936" y="1692"/>
                    </a:lnTo>
                    <a:lnTo>
                      <a:pt x="942" y="1712"/>
                    </a:lnTo>
                    <a:lnTo>
                      <a:pt x="944" y="1738"/>
                    </a:lnTo>
                    <a:lnTo>
                      <a:pt x="944" y="1744"/>
                    </a:lnTo>
                    <a:lnTo>
                      <a:pt x="944" y="1798"/>
                    </a:lnTo>
                    <a:lnTo>
                      <a:pt x="944" y="2068"/>
                    </a:lnTo>
                    <a:lnTo>
                      <a:pt x="940" y="2096"/>
                    </a:lnTo>
                    <a:lnTo>
                      <a:pt x="936" y="2122"/>
                    </a:lnTo>
                    <a:lnTo>
                      <a:pt x="926" y="2154"/>
                    </a:lnTo>
                    <a:lnTo>
                      <a:pt x="918" y="2180"/>
                    </a:lnTo>
                    <a:lnTo>
                      <a:pt x="912" y="2208"/>
                    </a:lnTo>
                    <a:lnTo>
                      <a:pt x="906" y="2238"/>
                    </a:lnTo>
                    <a:lnTo>
                      <a:pt x="902" y="2264"/>
                    </a:lnTo>
                    <a:lnTo>
                      <a:pt x="902" y="2292"/>
                    </a:lnTo>
                    <a:lnTo>
                      <a:pt x="902" y="2358"/>
                    </a:lnTo>
                    <a:lnTo>
                      <a:pt x="898" y="2386"/>
                    </a:lnTo>
                    <a:lnTo>
                      <a:pt x="892" y="2412"/>
                    </a:lnTo>
                    <a:lnTo>
                      <a:pt x="868" y="2480"/>
                    </a:lnTo>
                    <a:lnTo>
                      <a:pt x="862" y="2506"/>
                    </a:lnTo>
                    <a:lnTo>
                      <a:pt x="856" y="2534"/>
                    </a:lnTo>
                    <a:lnTo>
                      <a:pt x="850" y="2576"/>
                    </a:lnTo>
                    <a:lnTo>
                      <a:pt x="844" y="2630"/>
                    </a:lnTo>
                    <a:lnTo>
                      <a:pt x="836" y="2720"/>
                    </a:lnTo>
                    <a:lnTo>
                      <a:pt x="836" y="2732"/>
                    </a:lnTo>
                    <a:lnTo>
                      <a:pt x="838" y="2744"/>
                    </a:lnTo>
                    <a:lnTo>
                      <a:pt x="842" y="2756"/>
                    </a:lnTo>
                    <a:lnTo>
                      <a:pt x="846" y="2764"/>
                    </a:lnTo>
                    <a:lnTo>
                      <a:pt x="850" y="2774"/>
                    </a:lnTo>
                    <a:lnTo>
                      <a:pt x="852" y="2782"/>
                    </a:lnTo>
                    <a:lnTo>
                      <a:pt x="850" y="2792"/>
                    </a:lnTo>
                    <a:lnTo>
                      <a:pt x="846" y="2802"/>
                    </a:lnTo>
                    <a:lnTo>
                      <a:pt x="842" y="2810"/>
                    </a:lnTo>
                    <a:lnTo>
                      <a:pt x="842" y="2820"/>
                    </a:lnTo>
                    <a:lnTo>
                      <a:pt x="846" y="2830"/>
                    </a:lnTo>
                    <a:lnTo>
                      <a:pt x="852" y="2840"/>
                    </a:lnTo>
                    <a:lnTo>
                      <a:pt x="858" y="2846"/>
                    </a:lnTo>
                    <a:lnTo>
                      <a:pt x="864" y="2856"/>
                    </a:lnTo>
                    <a:lnTo>
                      <a:pt x="870" y="2870"/>
                    </a:lnTo>
                    <a:lnTo>
                      <a:pt x="874" y="2882"/>
                    </a:lnTo>
                    <a:lnTo>
                      <a:pt x="876" y="2894"/>
                    </a:lnTo>
                    <a:lnTo>
                      <a:pt x="876" y="3020"/>
                    </a:lnTo>
                    <a:lnTo>
                      <a:pt x="876" y="3054"/>
                    </a:lnTo>
                    <a:lnTo>
                      <a:pt x="878" y="3062"/>
                    </a:lnTo>
                    <a:lnTo>
                      <a:pt x="882" y="3072"/>
                    </a:lnTo>
                    <a:lnTo>
                      <a:pt x="892" y="3086"/>
                    </a:lnTo>
                    <a:lnTo>
                      <a:pt x="910" y="3102"/>
                    </a:lnTo>
                    <a:lnTo>
                      <a:pt x="920" y="3110"/>
                    </a:lnTo>
                    <a:lnTo>
                      <a:pt x="928" y="3116"/>
                    </a:lnTo>
                    <a:lnTo>
                      <a:pt x="936" y="3120"/>
                    </a:lnTo>
                    <a:lnTo>
                      <a:pt x="944" y="3120"/>
                    </a:lnTo>
                    <a:lnTo>
                      <a:pt x="978" y="3120"/>
                    </a:lnTo>
                    <a:lnTo>
                      <a:pt x="1014" y="3120"/>
                    </a:lnTo>
                    <a:lnTo>
                      <a:pt x="1028" y="3120"/>
                    </a:lnTo>
                    <a:lnTo>
                      <a:pt x="1040" y="3116"/>
                    </a:lnTo>
                    <a:lnTo>
                      <a:pt x="1046" y="3110"/>
                    </a:lnTo>
                    <a:lnTo>
                      <a:pt x="1052" y="3104"/>
                    </a:lnTo>
                    <a:lnTo>
                      <a:pt x="1058" y="3094"/>
                    </a:lnTo>
                    <a:lnTo>
                      <a:pt x="1062" y="3084"/>
                    </a:lnTo>
                    <a:lnTo>
                      <a:pt x="1068" y="3060"/>
                    </a:lnTo>
                    <a:lnTo>
                      <a:pt x="1070" y="3036"/>
                    </a:lnTo>
                    <a:lnTo>
                      <a:pt x="1068" y="3024"/>
                    </a:lnTo>
                    <a:lnTo>
                      <a:pt x="1066" y="3012"/>
                    </a:lnTo>
                    <a:lnTo>
                      <a:pt x="1062" y="2998"/>
                    </a:lnTo>
                    <a:lnTo>
                      <a:pt x="1058" y="2986"/>
                    </a:lnTo>
                    <a:lnTo>
                      <a:pt x="1052" y="2976"/>
                    </a:lnTo>
                    <a:lnTo>
                      <a:pt x="1028" y="2926"/>
                    </a:lnTo>
                    <a:lnTo>
                      <a:pt x="1024" y="2914"/>
                    </a:lnTo>
                    <a:lnTo>
                      <a:pt x="1020" y="2904"/>
                    </a:lnTo>
                    <a:lnTo>
                      <a:pt x="1020" y="2890"/>
                    </a:lnTo>
                    <a:lnTo>
                      <a:pt x="1022" y="2878"/>
                    </a:lnTo>
                    <a:lnTo>
                      <a:pt x="1028" y="2868"/>
                    </a:lnTo>
                    <a:lnTo>
                      <a:pt x="1038" y="2854"/>
                    </a:lnTo>
                    <a:lnTo>
                      <a:pt x="1044" y="2842"/>
                    </a:lnTo>
                    <a:lnTo>
                      <a:pt x="1050" y="2830"/>
                    </a:lnTo>
                    <a:lnTo>
                      <a:pt x="1052" y="2818"/>
                    </a:lnTo>
                    <a:lnTo>
                      <a:pt x="1054" y="2806"/>
                    </a:lnTo>
                    <a:lnTo>
                      <a:pt x="1054" y="2796"/>
                    </a:lnTo>
                    <a:lnTo>
                      <a:pt x="1058" y="2782"/>
                    </a:lnTo>
                    <a:lnTo>
                      <a:pt x="1062" y="2770"/>
                    </a:lnTo>
                    <a:lnTo>
                      <a:pt x="1066" y="2758"/>
                    </a:lnTo>
                    <a:lnTo>
                      <a:pt x="1084" y="2724"/>
                    </a:lnTo>
                    <a:lnTo>
                      <a:pt x="1094" y="2698"/>
                    </a:lnTo>
                    <a:lnTo>
                      <a:pt x="1102" y="2672"/>
                    </a:lnTo>
                    <a:lnTo>
                      <a:pt x="1144" y="2520"/>
                    </a:lnTo>
                    <a:lnTo>
                      <a:pt x="1156" y="2466"/>
                    </a:lnTo>
                    <a:lnTo>
                      <a:pt x="1188" y="2266"/>
                    </a:lnTo>
                    <a:lnTo>
                      <a:pt x="1200" y="2214"/>
                    </a:lnTo>
                    <a:lnTo>
                      <a:pt x="1228" y="2110"/>
                    </a:lnTo>
                    <a:lnTo>
                      <a:pt x="1240" y="2058"/>
                    </a:lnTo>
                    <a:lnTo>
                      <a:pt x="1256" y="1990"/>
                    </a:lnTo>
                    <a:lnTo>
                      <a:pt x="1258" y="1980"/>
                    </a:lnTo>
                    <a:lnTo>
                      <a:pt x="1262" y="1974"/>
                    </a:lnTo>
                    <a:lnTo>
                      <a:pt x="1266" y="1972"/>
                    </a:lnTo>
                    <a:lnTo>
                      <a:pt x="1268" y="1976"/>
                    </a:lnTo>
                    <a:lnTo>
                      <a:pt x="1272" y="1982"/>
                    </a:lnTo>
                    <a:lnTo>
                      <a:pt x="1274" y="1992"/>
                    </a:lnTo>
                    <a:lnTo>
                      <a:pt x="1276" y="2016"/>
                    </a:lnTo>
                    <a:lnTo>
                      <a:pt x="1276" y="2080"/>
                    </a:lnTo>
                    <a:lnTo>
                      <a:pt x="1278" y="2106"/>
                    </a:lnTo>
                    <a:lnTo>
                      <a:pt x="1282" y="2134"/>
                    </a:lnTo>
                    <a:lnTo>
                      <a:pt x="1284" y="2142"/>
                    </a:lnTo>
                    <a:lnTo>
                      <a:pt x="1286" y="2154"/>
                    </a:lnTo>
                    <a:lnTo>
                      <a:pt x="1286" y="2168"/>
                    </a:lnTo>
                    <a:lnTo>
                      <a:pt x="1282" y="2182"/>
                    </a:lnTo>
                    <a:lnTo>
                      <a:pt x="1278" y="2194"/>
                    </a:lnTo>
                    <a:lnTo>
                      <a:pt x="1274" y="2204"/>
                    </a:lnTo>
                    <a:lnTo>
                      <a:pt x="1268" y="2216"/>
                    </a:lnTo>
                    <a:lnTo>
                      <a:pt x="1264" y="2228"/>
                    </a:lnTo>
                    <a:lnTo>
                      <a:pt x="1262" y="2242"/>
                    </a:lnTo>
                    <a:lnTo>
                      <a:pt x="1262" y="2256"/>
                    </a:lnTo>
                    <a:lnTo>
                      <a:pt x="1262" y="2262"/>
                    </a:lnTo>
                    <a:lnTo>
                      <a:pt x="1262" y="2318"/>
                    </a:lnTo>
                    <a:lnTo>
                      <a:pt x="1262" y="2358"/>
                    </a:lnTo>
                    <a:lnTo>
                      <a:pt x="1258" y="2414"/>
                    </a:lnTo>
                    <a:lnTo>
                      <a:pt x="1252" y="2480"/>
                    </a:lnTo>
                    <a:lnTo>
                      <a:pt x="1246" y="2534"/>
                    </a:lnTo>
                    <a:lnTo>
                      <a:pt x="1238" y="2598"/>
                    </a:lnTo>
                    <a:lnTo>
                      <a:pt x="1234" y="2620"/>
                    </a:lnTo>
                    <a:lnTo>
                      <a:pt x="1228" y="2638"/>
                    </a:lnTo>
                    <a:lnTo>
                      <a:pt x="1222" y="2654"/>
                    </a:lnTo>
                    <a:lnTo>
                      <a:pt x="1214" y="2678"/>
                    </a:lnTo>
                    <a:lnTo>
                      <a:pt x="1212" y="2682"/>
                    </a:lnTo>
                    <a:lnTo>
                      <a:pt x="1212" y="2696"/>
                    </a:lnTo>
                    <a:lnTo>
                      <a:pt x="1212" y="2708"/>
                    </a:lnTo>
                    <a:lnTo>
                      <a:pt x="1216" y="2722"/>
                    </a:lnTo>
                    <a:lnTo>
                      <a:pt x="1220" y="2734"/>
                    </a:lnTo>
                    <a:lnTo>
                      <a:pt x="1226" y="2746"/>
                    </a:lnTo>
                    <a:lnTo>
                      <a:pt x="1230" y="2758"/>
                    </a:lnTo>
                    <a:lnTo>
                      <a:pt x="1234" y="2772"/>
                    </a:lnTo>
                    <a:lnTo>
                      <a:pt x="1234" y="2786"/>
                    </a:lnTo>
                    <a:lnTo>
                      <a:pt x="1234" y="2816"/>
                    </a:lnTo>
                    <a:lnTo>
                      <a:pt x="1236" y="2826"/>
                    </a:lnTo>
                    <a:lnTo>
                      <a:pt x="1242" y="2838"/>
                    </a:lnTo>
                    <a:lnTo>
                      <a:pt x="1250" y="2848"/>
                    </a:lnTo>
                    <a:lnTo>
                      <a:pt x="1260" y="2854"/>
                    </a:lnTo>
                    <a:lnTo>
                      <a:pt x="1266" y="2856"/>
                    </a:lnTo>
                    <a:lnTo>
                      <a:pt x="1284" y="2864"/>
                    </a:lnTo>
                    <a:lnTo>
                      <a:pt x="1296" y="2868"/>
                    </a:lnTo>
                    <a:lnTo>
                      <a:pt x="1300" y="2870"/>
                    </a:lnTo>
                    <a:lnTo>
                      <a:pt x="1306" y="2874"/>
                    </a:lnTo>
                    <a:lnTo>
                      <a:pt x="1318" y="2890"/>
                    </a:lnTo>
                    <a:lnTo>
                      <a:pt x="1330" y="2904"/>
                    </a:lnTo>
                    <a:lnTo>
                      <a:pt x="1344" y="2924"/>
                    </a:lnTo>
                    <a:lnTo>
                      <a:pt x="1360" y="2940"/>
                    </a:lnTo>
                    <a:lnTo>
                      <a:pt x="1374" y="2950"/>
                    </a:lnTo>
                    <a:lnTo>
                      <a:pt x="1388" y="2958"/>
                    </a:lnTo>
                    <a:lnTo>
                      <a:pt x="1414" y="2970"/>
                    </a:lnTo>
                    <a:lnTo>
                      <a:pt x="1456" y="2982"/>
                    </a:lnTo>
                    <a:lnTo>
                      <a:pt x="1458" y="2982"/>
                    </a:lnTo>
                    <a:lnTo>
                      <a:pt x="1470" y="2984"/>
                    </a:lnTo>
                    <a:lnTo>
                      <a:pt x="1484" y="2984"/>
                    </a:lnTo>
                    <a:lnTo>
                      <a:pt x="1498" y="2982"/>
                    </a:lnTo>
                    <a:lnTo>
                      <a:pt x="1510" y="2980"/>
                    </a:lnTo>
                    <a:lnTo>
                      <a:pt x="1526" y="2972"/>
                    </a:lnTo>
                    <a:lnTo>
                      <a:pt x="1538" y="2968"/>
                    </a:lnTo>
                    <a:lnTo>
                      <a:pt x="1548" y="2960"/>
                    </a:lnTo>
                    <a:lnTo>
                      <a:pt x="1556" y="2952"/>
                    </a:lnTo>
                    <a:lnTo>
                      <a:pt x="1560" y="2946"/>
                    </a:lnTo>
                    <a:lnTo>
                      <a:pt x="1562" y="2936"/>
                    </a:lnTo>
                    <a:lnTo>
                      <a:pt x="1560" y="2926"/>
                    </a:lnTo>
                    <a:lnTo>
                      <a:pt x="1556" y="2918"/>
                    </a:lnTo>
                    <a:lnTo>
                      <a:pt x="1548" y="2908"/>
                    </a:lnTo>
                    <a:lnTo>
                      <a:pt x="1534" y="2896"/>
                    </a:lnTo>
                    <a:lnTo>
                      <a:pt x="1494" y="2860"/>
                    </a:lnTo>
                    <a:lnTo>
                      <a:pt x="1474" y="2840"/>
                    </a:lnTo>
                    <a:lnTo>
                      <a:pt x="1458" y="2818"/>
                    </a:lnTo>
                    <a:lnTo>
                      <a:pt x="1442" y="2796"/>
                    </a:lnTo>
                    <a:lnTo>
                      <a:pt x="1438" y="2784"/>
                    </a:lnTo>
                    <a:lnTo>
                      <a:pt x="1434" y="2770"/>
                    </a:lnTo>
                    <a:lnTo>
                      <a:pt x="1430" y="2756"/>
                    </a:lnTo>
                    <a:lnTo>
                      <a:pt x="1430" y="2744"/>
                    </a:lnTo>
                    <a:lnTo>
                      <a:pt x="1430" y="2738"/>
                    </a:lnTo>
                    <a:lnTo>
                      <a:pt x="1432" y="2726"/>
                    </a:lnTo>
                    <a:lnTo>
                      <a:pt x="1436" y="2714"/>
                    </a:lnTo>
                    <a:lnTo>
                      <a:pt x="1442" y="2704"/>
                    </a:lnTo>
                    <a:lnTo>
                      <a:pt x="1450" y="2698"/>
                    </a:lnTo>
                    <a:lnTo>
                      <a:pt x="1458" y="2692"/>
                    </a:lnTo>
                    <a:lnTo>
                      <a:pt x="1466" y="2684"/>
                    </a:lnTo>
                    <a:lnTo>
                      <a:pt x="1470" y="2676"/>
                    </a:lnTo>
                    <a:lnTo>
                      <a:pt x="1472" y="2668"/>
                    </a:lnTo>
                    <a:lnTo>
                      <a:pt x="1474" y="2624"/>
                    </a:lnTo>
                    <a:lnTo>
                      <a:pt x="1480" y="2568"/>
                    </a:lnTo>
                    <a:lnTo>
                      <a:pt x="1486" y="2542"/>
                    </a:lnTo>
                    <a:lnTo>
                      <a:pt x="1492" y="2514"/>
                    </a:lnTo>
                    <a:lnTo>
                      <a:pt x="1506" y="2472"/>
                    </a:lnTo>
                    <a:lnTo>
                      <a:pt x="1512" y="2444"/>
                    </a:lnTo>
                    <a:lnTo>
                      <a:pt x="1516" y="2418"/>
                    </a:lnTo>
                    <a:lnTo>
                      <a:pt x="1524" y="2328"/>
                    </a:lnTo>
                    <a:lnTo>
                      <a:pt x="1528" y="2302"/>
                    </a:lnTo>
                    <a:lnTo>
                      <a:pt x="1536" y="2274"/>
                    </a:lnTo>
                    <a:lnTo>
                      <a:pt x="1572" y="2158"/>
                    </a:lnTo>
                    <a:lnTo>
                      <a:pt x="1588" y="2106"/>
                    </a:lnTo>
                    <a:lnTo>
                      <a:pt x="1616" y="1978"/>
                    </a:lnTo>
                    <a:lnTo>
                      <a:pt x="1630" y="1924"/>
                    </a:lnTo>
                    <a:lnTo>
                      <a:pt x="1660" y="1810"/>
                    </a:lnTo>
                    <a:lnTo>
                      <a:pt x="1664" y="1784"/>
                    </a:lnTo>
                    <a:lnTo>
                      <a:pt x="1666" y="1758"/>
                    </a:lnTo>
                    <a:lnTo>
                      <a:pt x="1668" y="1748"/>
                    </a:lnTo>
                    <a:lnTo>
                      <a:pt x="1672" y="1736"/>
                    </a:lnTo>
                    <a:lnTo>
                      <a:pt x="1678" y="1724"/>
                    </a:lnTo>
                    <a:lnTo>
                      <a:pt x="1684" y="1716"/>
                    </a:lnTo>
                    <a:lnTo>
                      <a:pt x="1728" y="1670"/>
                    </a:lnTo>
                    <a:lnTo>
                      <a:pt x="1734" y="1660"/>
                    </a:lnTo>
                    <a:lnTo>
                      <a:pt x="1740" y="1648"/>
                    </a:lnTo>
                    <a:lnTo>
                      <a:pt x="1744" y="1636"/>
                    </a:lnTo>
                    <a:lnTo>
                      <a:pt x="1746" y="1624"/>
                    </a:lnTo>
                    <a:lnTo>
                      <a:pt x="1746" y="1582"/>
                    </a:lnTo>
                    <a:lnTo>
                      <a:pt x="1746" y="1528"/>
                    </a:lnTo>
                    <a:lnTo>
                      <a:pt x="1746" y="1446"/>
                    </a:lnTo>
                    <a:close/>
                    <a:moveTo>
                      <a:pt x="190" y="614"/>
                    </a:moveTo>
                    <a:lnTo>
                      <a:pt x="190" y="614"/>
                    </a:lnTo>
                    <a:lnTo>
                      <a:pt x="186" y="614"/>
                    </a:lnTo>
                    <a:lnTo>
                      <a:pt x="190" y="614"/>
                    </a:lnTo>
                    <a:lnTo>
                      <a:pt x="192" y="614"/>
                    </a:lnTo>
                    <a:lnTo>
                      <a:pt x="190" y="6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7" name="Tåre 105"/>
            <p:cNvSpPr/>
            <p:nvPr/>
          </p:nvSpPr>
          <p:spPr bwMode="auto">
            <a:xfrm rot="8100000">
              <a:off x="4036958" y="1716473"/>
              <a:ext cx="1098326" cy="1103903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78" name="Tåre 106"/>
            <p:cNvSpPr/>
            <p:nvPr/>
          </p:nvSpPr>
          <p:spPr bwMode="auto">
            <a:xfrm rot="8100000">
              <a:off x="4106230" y="1874214"/>
              <a:ext cx="958565" cy="963432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2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79" name="Måne 107"/>
            <p:cNvSpPr/>
            <p:nvPr/>
          </p:nvSpPr>
          <p:spPr bwMode="auto">
            <a:xfrm rot="5245033">
              <a:off x="4394713" y="1452651"/>
              <a:ext cx="382819" cy="949338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200" smtClean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17434" name="Gruppe 46"/>
            <p:cNvGrpSpPr>
              <a:grpSpLocks/>
            </p:cNvGrpSpPr>
            <p:nvPr/>
          </p:nvGrpSpPr>
          <p:grpSpPr bwMode="auto">
            <a:xfrm>
              <a:off x="4260850" y="2017713"/>
              <a:ext cx="747713" cy="555625"/>
              <a:chOff x="4821610" y="587829"/>
              <a:chExt cx="2393544" cy="1781593"/>
            </a:xfrm>
          </p:grpSpPr>
          <p:sp>
            <p:nvSpPr>
              <p:cNvPr id="17447" name="Freeform 528"/>
              <p:cNvSpPr>
                <a:spLocks/>
              </p:cNvSpPr>
              <p:nvPr/>
            </p:nvSpPr>
            <p:spPr bwMode="auto">
              <a:xfrm>
                <a:off x="4821610" y="587829"/>
                <a:ext cx="2393544" cy="1781593"/>
              </a:xfrm>
              <a:custGeom>
                <a:avLst/>
                <a:gdLst>
                  <a:gd name="T0" fmla="*/ 2147483647 w 794"/>
                  <a:gd name="T1" fmla="*/ 2147483647 h 591"/>
                  <a:gd name="T2" fmla="*/ 2147483647 w 794"/>
                  <a:gd name="T3" fmla="*/ 2147483647 h 591"/>
                  <a:gd name="T4" fmla="*/ 2147483647 w 794"/>
                  <a:gd name="T5" fmla="*/ 2147483647 h 591"/>
                  <a:gd name="T6" fmla="*/ 2147483647 w 794"/>
                  <a:gd name="T7" fmla="*/ 2147483647 h 591"/>
                  <a:gd name="T8" fmla="*/ 2147483647 w 794"/>
                  <a:gd name="T9" fmla="*/ 2147483647 h 591"/>
                  <a:gd name="T10" fmla="*/ 2147483647 w 794"/>
                  <a:gd name="T11" fmla="*/ 2147483647 h 591"/>
                  <a:gd name="T12" fmla="*/ 2147483647 w 794"/>
                  <a:gd name="T13" fmla="*/ 2147483647 h 591"/>
                  <a:gd name="T14" fmla="*/ 2147483647 w 794"/>
                  <a:gd name="T15" fmla="*/ 2147483647 h 591"/>
                  <a:gd name="T16" fmla="*/ 2147483647 w 794"/>
                  <a:gd name="T17" fmla="*/ 2147483647 h 591"/>
                  <a:gd name="T18" fmla="*/ 2147483647 w 794"/>
                  <a:gd name="T19" fmla="*/ 2147483647 h 591"/>
                  <a:gd name="T20" fmla="*/ 2147483647 w 794"/>
                  <a:gd name="T21" fmla="*/ 2147483647 h 591"/>
                  <a:gd name="T22" fmla="*/ 2147483647 w 794"/>
                  <a:gd name="T23" fmla="*/ 2147483647 h 591"/>
                  <a:gd name="T24" fmla="*/ 2147483647 w 794"/>
                  <a:gd name="T25" fmla="*/ 2147483647 h 591"/>
                  <a:gd name="T26" fmla="*/ 2147483647 w 794"/>
                  <a:gd name="T27" fmla="*/ 2147483647 h 591"/>
                  <a:gd name="T28" fmla="*/ 2147483647 w 794"/>
                  <a:gd name="T29" fmla="*/ 2147483647 h 591"/>
                  <a:gd name="T30" fmla="*/ 2147483647 w 794"/>
                  <a:gd name="T31" fmla="*/ 2147483647 h 591"/>
                  <a:gd name="T32" fmla="*/ 2147483647 w 794"/>
                  <a:gd name="T33" fmla="*/ 2147483647 h 591"/>
                  <a:gd name="T34" fmla="*/ 2147483647 w 794"/>
                  <a:gd name="T35" fmla="*/ 2147483647 h 591"/>
                  <a:gd name="T36" fmla="*/ 2147483647 w 794"/>
                  <a:gd name="T37" fmla="*/ 2147483647 h 591"/>
                  <a:gd name="T38" fmla="*/ 2147483647 w 794"/>
                  <a:gd name="T39" fmla="*/ 2147483647 h 591"/>
                  <a:gd name="T40" fmla="*/ 2147483647 w 794"/>
                  <a:gd name="T41" fmla="*/ 2147483647 h 591"/>
                  <a:gd name="T42" fmla="*/ 2147483647 w 794"/>
                  <a:gd name="T43" fmla="*/ 0 h 591"/>
                  <a:gd name="T44" fmla="*/ 2147483647 w 794"/>
                  <a:gd name="T45" fmla="*/ 2147483647 h 591"/>
                  <a:gd name="T46" fmla="*/ 2147483647 w 794"/>
                  <a:gd name="T47" fmla="*/ 2147483647 h 591"/>
                  <a:gd name="T48" fmla="*/ 2147483647 w 794"/>
                  <a:gd name="T49" fmla="*/ 2147483647 h 591"/>
                  <a:gd name="T50" fmla="*/ 2147483647 w 794"/>
                  <a:gd name="T51" fmla="*/ 2147483647 h 591"/>
                  <a:gd name="T52" fmla="*/ 2147483647 w 794"/>
                  <a:gd name="T53" fmla="*/ 2147483647 h 591"/>
                  <a:gd name="T54" fmla="*/ 0 w 794"/>
                  <a:gd name="T55" fmla="*/ 2147483647 h 591"/>
                  <a:gd name="T56" fmla="*/ 2147483647 w 794"/>
                  <a:gd name="T57" fmla="*/ 2147483647 h 591"/>
                  <a:gd name="T58" fmla="*/ 2147483647 w 794"/>
                  <a:gd name="T59" fmla="*/ 2147483647 h 591"/>
                  <a:gd name="T60" fmla="*/ 2147483647 w 794"/>
                  <a:gd name="T61" fmla="*/ 2147483647 h 591"/>
                  <a:gd name="T62" fmla="*/ 2147483647 w 794"/>
                  <a:gd name="T63" fmla="*/ 2147483647 h 591"/>
                  <a:gd name="T64" fmla="*/ 2147483647 w 794"/>
                  <a:gd name="T65" fmla="*/ 2147483647 h 591"/>
                  <a:gd name="T66" fmla="*/ 2147483647 w 794"/>
                  <a:gd name="T67" fmla="*/ 2147483647 h 591"/>
                  <a:gd name="T68" fmla="*/ 2147483647 w 794"/>
                  <a:gd name="T69" fmla="*/ 2147483647 h 591"/>
                  <a:gd name="T70" fmla="*/ 2147483647 w 794"/>
                  <a:gd name="T71" fmla="*/ 2147483647 h 591"/>
                  <a:gd name="T72" fmla="*/ 2147483647 w 794"/>
                  <a:gd name="T73" fmla="*/ 2147483647 h 591"/>
                  <a:gd name="T74" fmla="*/ 2147483647 w 794"/>
                  <a:gd name="T75" fmla="*/ 2147483647 h 591"/>
                  <a:gd name="T76" fmla="*/ 2147483647 w 794"/>
                  <a:gd name="T77" fmla="*/ 2147483647 h 591"/>
                  <a:gd name="T78" fmla="*/ 2147483647 w 794"/>
                  <a:gd name="T79" fmla="*/ 2147483647 h 591"/>
                  <a:gd name="T80" fmla="*/ 2147483647 w 794"/>
                  <a:gd name="T81" fmla="*/ 2147483647 h 591"/>
                  <a:gd name="T82" fmla="*/ 2147483647 w 794"/>
                  <a:gd name="T83" fmla="*/ 2147483647 h 591"/>
                  <a:gd name="T84" fmla="*/ 2147483647 w 794"/>
                  <a:gd name="T85" fmla="*/ 2147483647 h 591"/>
                  <a:gd name="T86" fmla="*/ 2147483647 w 794"/>
                  <a:gd name="T87" fmla="*/ 2147483647 h 591"/>
                  <a:gd name="T88" fmla="*/ 2147483647 w 794"/>
                  <a:gd name="T89" fmla="*/ 2147483647 h 591"/>
                  <a:gd name="T90" fmla="*/ 2147483647 w 794"/>
                  <a:gd name="T91" fmla="*/ 2147483647 h 591"/>
                  <a:gd name="T92" fmla="*/ 2147483647 w 794"/>
                  <a:gd name="T93" fmla="*/ 2147483647 h 591"/>
                  <a:gd name="T94" fmla="*/ 2147483647 w 794"/>
                  <a:gd name="T95" fmla="*/ 2147483647 h 591"/>
                  <a:gd name="T96" fmla="*/ 2147483647 w 794"/>
                  <a:gd name="T97" fmla="*/ 2147483647 h 591"/>
                  <a:gd name="T98" fmla="*/ 2147483647 w 794"/>
                  <a:gd name="T99" fmla="*/ 2147483647 h 591"/>
                  <a:gd name="T100" fmla="*/ 2147483647 w 794"/>
                  <a:gd name="T101" fmla="*/ 2147483647 h 5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94"/>
                  <a:gd name="T154" fmla="*/ 0 h 591"/>
                  <a:gd name="T155" fmla="*/ 794 w 794"/>
                  <a:gd name="T156" fmla="*/ 591 h 5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94" h="591">
                    <a:moveTo>
                      <a:pt x="783" y="463"/>
                    </a:moveTo>
                    <a:lnTo>
                      <a:pt x="771" y="468"/>
                    </a:lnTo>
                    <a:lnTo>
                      <a:pt x="757" y="474"/>
                    </a:lnTo>
                    <a:lnTo>
                      <a:pt x="742" y="480"/>
                    </a:lnTo>
                    <a:lnTo>
                      <a:pt x="719" y="486"/>
                    </a:lnTo>
                    <a:lnTo>
                      <a:pt x="704" y="486"/>
                    </a:lnTo>
                    <a:lnTo>
                      <a:pt x="698" y="486"/>
                    </a:lnTo>
                    <a:lnTo>
                      <a:pt x="687" y="480"/>
                    </a:lnTo>
                    <a:lnTo>
                      <a:pt x="675" y="480"/>
                    </a:lnTo>
                    <a:lnTo>
                      <a:pt x="660" y="480"/>
                    </a:lnTo>
                    <a:lnTo>
                      <a:pt x="655" y="486"/>
                    </a:lnTo>
                    <a:lnTo>
                      <a:pt x="617" y="474"/>
                    </a:lnTo>
                    <a:lnTo>
                      <a:pt x="620" y="428"/>
                    </a:lnTo>
                    <a:lnTo>
                      <a:pt x="570" y="404"/>
                    </a:lnTo>
                    <a:lnTo>
                      <a:pt x="556" y="404"/>
                    </a:lnTo>
                    <a:lnTo>
                      <a:pt x="521" y="387"/>
                    </a:lnTo>
                    <a:lnTo>
                      <a:pt x="480" y="375"/>
                    </a:lnTo>
                    <a:lnTo>
                      <a:pt x="474" y="369"/>
                    </a:lnTo>
                    <a:lnTo>
                      <a:pt x="460" y="361"/>
                    </a:lnTo>
                    <a:lnTo>
                      <a:pt x="445" y="364"/>
                    </a:lnTo>
                    <a:lnTo>
                      <a:pt x="419" y="340"/>
                    </a:lnTo>
                    <a:lnTo>
                      <a:pt x="401" y="335"/>
                    </a:lnTo>
                    <a:lnTo>
                      <a:pt x="375" y="329"/>
                    </a:lnTo>
                    <a:lnTo>
                      <a:pt x="320" y="332"/>
                    </a:lnTo>
                    <a:lnTo>
                      <a:pt x="326" y="311"/>
                    </a:lnTo>
                    <a:lnTo>
                      <a:pt x="305" y="303"/>
                    </a:lnTo>
                    <a:lnTo>
                      <a:pt x="265" y="308"/>
                    </a:lnTo>
                    <a:lnTo>
                      <a:pt x="285" y="288"/>
                    </a:lnTo>
                    <a:lnTo>
                      <a:pt x="297" y="282"/>
                    </a:lnTo>
                    <a:lnTo>
                      <a:pt x="308" y="271"/>
                    </a:lnTo>
                    <a:lnTo>
                      <a:pt x="314" y="262"/>
                    </a:lnTo>
                    <a:lnTo>
                      <a:pt x="352" y="241"/>
                    </a:lnTo>
                    <a:lnTo>
                      <a:pt x="381" y="256"/>
                    </a:lnTo>
                    <a:lnTo>
                      <a:pt x="407" y="271"/>
                    </a:lnTo>
                    <a:lnTo>
                      <a:pt x="451" y="294"/>
                    </a:lnTo>
                    <a:lnTo>
                      <a:pt x="465" y="294"/>
                    </a:lnTo>
                    <a:lnTo>
                      <a:pt x="477" y="291"/>
                    </a:lnTo>
                    <a:lnTo>
                      <a:pt x="483" y="285"/>
                    </a:lnTo>
                    <a:lnTo>
                      <a:pt x="506" y="262"/>
                    </a:lnTo>
                    <a:lnTo>
                      <a:pt x="532" y="239"/>
                    </a:lnTo>
                    <a:lnTo>
                      <a:pt x="564" y="212"/>
                    </a:lnTo>
                    <a:lnTo>
                      <a:pt x="562" y="198"/>
                    </a:lnTo>
                    <a:lnTo>
                      <a:pt x="564" y="189"/>
                    </a:lnTo>
                    <a:lnTo>
                      <a:pt x="579" y="166"/>
                    </a:lnTo>
                    <a:lnTo>
                      <a:pt x="588" y="157"/>
                    </a:lnTo>
                    <a:lnTo>
                      <a:pt x="596" y="148"/>
                    </a:lnTo>
                    <a:lnTo>
                      <a:pt x="602" y="137"/>
                    </a:lnTo>
                    <a:lnTo>
                      <a:pt x="605" y="113"/>
                    </a:lnTo>
                    <a:lnTo>
                      <a:pt x="596" y="105"/>
                    </a:lnTo>
                    <a:lnTo>
                      <a:pt x="559" y="105"/>
                    </a:lnTo>
                    <a:lnTo>
                      <a:pt x="556" y="111"/>
                    </a:lnTo>
                    <a:lnTo>
                      <a:pt x="541" y="122"/>
                    </a:lnTo>
                    <a:lnTo>
                      <a:pt x="541" y="128"/>
                    </a:lnTo>
                    <a:lnTo>
                      <a:pt x="541" y="134"/>
                    </a:lnTo>
                    <a:lnTo>
                      <a:pt x="541" y="137"/>
                    </a:lnTo>
                    <a:lnTo>
                      <a:pt x="544" y="148"/>
                    </a:lnTo>
                    <a:lnTo>
                      <a:pt x="541" y="157"/>
                    </a:lnTo>
                    <a:lnTo>
                      <a:pt x="535" y="169"/>
                    </a:lnTo>
                    <a:lnTo>
                      <a:pt x="509" y="198"/>
                    </a:lnTo>
                    <a:lnTo>
                      <a:pt x="486" y="209"/>
                    </a:lnTo>
                    <a:lnTo>
                      <a:pt x="465" y="227"/>
                    </a:lnTo>
                    <a:lnTo>
                      <a:pt x="457" y="233"/>
                    </a:lnTo>
                    <a:lnTo>
                      <a:pt x="451" y="230"/>
                    </a:lnTo>
                    <a:lnTo>
                      <a:pt x="448" y="224"/>
                    </a:lnTo>
                    <a:lnTo>
                      <a:pt x="422" y="207"/>
                    </a:lnTo>
                    <a:lnTo>
                      <a:pt x="407" y="186"/>
                    </a:lnTo>
                    <a:lnTo>
                      <a:pt x="416" y="160"/>
                    </a:lnTo>
                    <a:lnTo>
                      <a:pt x="410" y="145"/>
                    </a:lnTo>
                    <a:lnTo>
                      <a:pt x="399" y="140"/>
                    </a:lnTo>
                    <a:lnTo>
                      <a:pt x="407" y="137"/>
                    </a:lnTo>
                    <a:lnTo>
                      <a:pt x="413" y="131"/>
                    </a:lnTo>
                    <a:lnTo>
                      <a:pt x="413" y="111"/>
                    </a:lnTo>
                    <a:lnTo>
                      <a:pt x="419" y="96"/>
                    </a:lnTo>
                    <a:lnTo>
                      <a:pt x="422" y="96"/>
                    </a:lnTo>
                    <a:lnTo>
                      <a:pt x="425" y="93"/>
                    </a:lnTo>
                    <a:lnTo>
                      <a:pt x="428" y="90"/>
                    </a:lnTo>
                    <a:lnTo>
                      <a:pt x="422" y="76"/>
                    </a:lnTo>
                    <a:lnTo>
                      <a:pt x="425" y="55"/>
                    </a:lnTo>
                    <a:lnTo>
                      <a:pt x="422" y="44"/>
                    </a:lnTo>
                    <a:lnTo>
                      <a:pt x="428" y="44"/>
                    </a:lnTo>
                    <a:lnTo>
                      <a:pt x="431" y="41"/>
                    </a:lnTo>
                    <a:lnTo>
                      <a:pt x="433" y="35"/>
                    </a:lnTo>
                    <a:lnTo>
                      <a:pt x="431" y="32"/>
                    </a:lnTo>
                    <a:lnTo>
                      <a:pt x="422" y="26"/>
                    </a:lnTo>
                    <a:lnTo>
                      <a:pt x="416" y="20"/>
                    </a:lnTo>
                    <a:lnTo>
                      <a:pt x="407" y="12"/>
                    </a:lnTo>
                    <a:lnTo>
                      <a:pt x="399" y="9"/>
                    </a:lnTo>
                    <a:lnTo>
                      <a:pt x="390" y="6"/>
                    </a:lnTo>
                    <a:lnTo>
                      <a:pt x="378" y="3"/>
                    </a:lnTo>
                    <a:lnTo>
                      <a:pt x="367" y="0"/>
                    </a:lnTo>
                    <a:lnTo>
                      <a:pt x="358" y="0"/>
                    </a:lnTo>
                    <a:lnTo>
                      <a:pt x="343" y="6"/>
                    </a:lnTo>
                    <a:lnTo>
                      <a:pt x="334" y="9"/>
                    </a:lnTo>
                    <a:lnTo>
                      <a:pt x="329" y="15"/>
                    </a:lnTo>
                    <a:lnTo>
                      <a:pt x="317" y="26"/>
                    </a:lnTo>
                    <a:lnTo>
                      <a:pt x="311" y="41"/>
                    </a:lnTo>
                    <a:lnTo>
                      <a:pt x="308" y="55"/>
                    </a:lnTo>
                    <a:lnTo>
                      <a:pt x="305" y="76"/>
                    </a:lnTo>
                    <a:lnTo>
                      <a:pt x="282" y="55"/>
                    </a:lnTo>
                    <a:lnTo>
                      <a:pt x="273" y="49"/>
                    </a:lnTo>
                    <a:lnTo>
                      <a:pt x="265" y="47"/>
                    </a:lnTo>
                    <a:lnTo>
                      <a:pt x="253" y="47"/>
                    </a:lnTo>
                    <a:lnTo>
                      <a:pt x="244" y="49"/>
                    </a:lnTo>
                    <a:lnTo>
                      <a:pt x="230" y="55"/>
                    </a:lnTo>
                    <a:lnTo>
                      <a:pt x="224" y="58"/>
                    </a:lnTo>
                    <a:lnTo>
                      <a:pt x="206" y="67"/>
                    </a:lnTo>
                    <a:lnTo>
                      <a:pt x="174" y="67"/>
                    </a:lnTo>
                    <a:lnTo>
                      <a:pt x="142" y="76"/>
                    </a:lnTo>
                    <a:lnTo>
                      <a:pt x="122" y="79"/>
                    </a:lnTo>
                    <a:lnTo>
                      <a:pt x="105" y="81"/>
                    </a:lnTo>
                    <a:lnTo>
                      <a:pt x="93" y="87"/>
                    </a:lnTo>
                    <a:lnTo>
                      <a:pt x="84" y="96"/>
                    </a:lnTo>
                    <a:lnTo>
                      <a:pt x="17" y="201"/>
                    </a:lnTo>
                    <a:lnTo>
                      <a:pt x="17" y="207"/>
                    </a:lnTo>
                    <a:lnTo>
                      <a:pt x="6" y="207"/>
                    </a:lnTo>
                    <a:lnTo>
                      <a:pt x="0" y="224"/>
                    </a:lnTo>
                    <a:lnTo>
                      <a:pt x="6" y="233"/>
                    </a:lnTo>
                    <a:lnTo>
                      <a:pt x="11" y="236"/>
                    </a:lnTo>
                    <a:lnTo>
                      <a:pt x="14" y="241"/>
                    </a:lnTo>
                    <a:lnTo>
                      <a:pt x="29" y="244"/>
                    </a:lnTo>
                    <a:lnTo>
                      <a:pt x="43" y="247"/>
                    </a:lnTo>
                    <a:lnTo>
                      <a:pt x="49" y="239"/>
                    </a:lnTo>
                    <a:lnTo>
                      <a:pt x="52" y="233"/>
                    </a:lnTo>
                    <a:lnTo>
                      <a:pt x="55" y="221"/>
                    </a:lnTo>
                    <a:lnTo>
                      <a:pt x="70" y="207"/>
                    </a:lnTo>
                    <a:lnTo>
                      <a:pt x="73" y="198"/>
                    </a:lnTo>
                    <a:lnTo>
                      <a:pt x="93" y="175"/>
                    </a:lnTo>
                    <a:lnTo>
                      <a:pt x="96" y="166"/>
                    </a:lnTo>
                    <a:lnTo>
                      <a:pt x="105" y="166"/>
                    </a:lnTo>
                    <a:lnTo>
                      <a:pt x="134" y="143"/>
                    </a:lnTo>
                    <a:lnTo>
                      <a:pt x="160" y="140"/>
                    </a:lnTo>
                    <a:lnTo>
                      <a:pt x="183" y="134"/>
                    </a:lnTo>
                    <a:lnTo>
                      <a:pt x="183" y="140"/>
                    </a:lnTo>
                    <a:lnTo>
                      <a:pt x="139" y="215"/>
                    </a:lnTo>
                    <a:lnTo>
                      <a:pt x="131" y="221"/>
                    </a:lnTo>
                    <a:lnTo>
                      <a:pt x="128" y="227"/>
                    </a:lnTo>
                    <a:lnTo>
                      <a:pt x="128" y="241"/>
                    </a:lnTo>
                    <a:lnTo>
                      <a:pt x="116" y="244"/>
                    </a:lnTo>
                    <a:lnTo>
                      <a:pt x="110" y="253"/>
                    </a:lnTo>
                    <a:lnTo>
                      <a:pt x="73" y="291"/>
                    </a:lnTo>
                    <a:lnTo>
                      <a:pt x="73" y="303"/>
                    </a:lnTo>
                    <a:lnTo>
                      <a:pt x="78" y="317"/>
                    </a:lnTo>
                    <a:lnTo>
                      <a:pt x="84" y="337"/>
                    </a:lnTo>
                    <a:lnTo>
                      <a:pt x="87" y="361"/>
                    </a:lnTo>
                    <a:lnTo>
                      <a:pt x="90" y="364"/>
                    </a:lnTo>
                    <a:lnTo>
                      <a:pt x="93" y="375"/>
                    </a:lnTo>
                    <a:lnTo>
                      <a:pt x="99" y="390"/>
                    </a:lnTo>
                    <a:lnTo>
                      <a:pt x="105" y="399"/>
                    </a:lnTo>
                    <a:lnTo>
                      <a:pt x="113" y="410"/>
                    </a:lnTo>
                    <a:lnTo>
                      <a:pt x="128" y="422"/>
                    </a:lnTo>
                    <a:lnTo>
                      <a:pt x="134" y="428"/>
                    </a:lnTo>
                    <a:lnTo>
                      <a:pt x="137" y="436"/>
                    </a:lnTo>
                    <a:lnTo>
                      <a:pt x="125" y="433"/>
                    </a:lnTo>
                    <a:lnTo>
                      <a:pt x="113" y="436"/>
                    </a:lnTo>
                    <a:lnTo>
                      <a:pt x="102" y="442"/>
                    </a:lnTo>
                    <a:lnTo>
                      <a:pt x="96" y="433"/>
                    </a:lnTo>
                    <a:lnTo>
                      <a:pt x="90" y="428"/>
                    </a:lnTo>
                    <a:lnTo>
                      <a:pt x="84" y="425"/>
                    </a:lnTo>
                    <a:lnTo>
                      <a:pt x="78" y="425"/>
                    </a:lnTo>
                    <a:lnTo>
                      <a:pt x="73" y="428"/>
                    </a:lnTo>
                    <a:lnTo>
                      <a:pt x="64" y="431"/>
                    </a:lnTo>
                    <a:lnTo>
                      <a:pt x="64" y="436"/>
                    </a:lnTo>
                    <a:lnTo>
                      <a:pt x="43" y="463"/>
                    </a:lnTo>
                    <a:lnTo>
                      <a:pt x="55" y="468"/>
                    </a:lnTo>
                    <a:lnTo>
                      <a:pt x="38" y="480"/>
                    </a:lnTo>
                    <a:lnTo>
                      <a:pt x="26" y="492"/>
                    </a:lnTo>
                    <a:lnTo>
                      <a:pt x="17" y="506"/>
                    </a:lnTo>
                    <a:lnTo>
                      <a:pt x="11" y="521"/>
                    </a:lnTo>
                    <a:lnTo>
                      <a:pt x="8" y="535"/>
                    </a:lnTo>
                    <a:lnTo>
                      <a:pt x="8" y="556"/>
                    </a:lnTo>
                    <a:lnTo>
                      <a:pt x="8" y="564"/>
                    </a:lnTo>
                    <a:lnTo>
                      <a:pt x="38" y="561"/>
                    </a:lnTo>
                    <a:lnTo>
                      <a:pt x="43" y="550"/>
                    </a:lnTo>
                    <a:lnTo>
                      <a:pt x="55" y="538"/>
                    </a:lnTo>
                    <a:lnTo>
                      <a:pt x="67" y="529"/>
                    </a:lnTo>
                    <a:lnTo>
                      <a:pt x="81" y="524"/>
                    </a:lnTo>
                    <a:lnTo>
                      <a:pt x="105" y="515"/>
                    </a:lnTo>
                    <a:lnTo>
                      <a:pt x="116" y="512"/>
                    </a:lnTo>
                    <a:lnTo>
                      <a:pt x="119" y="529"/>
                    </a:lnTo>
                    <a:lnTo>
                      <a:pt x="163" y="512"/>
                    </a:lnTo>
                    <a:lnTo>
                      <a:pt x="206" y="506"/>
                    </a:lnTo>
                    <a:lnTo>
                      <a:pt x="215" y="503"/>
                    </a:lnTo>
                    <a:lnTo>
                      <a:pt x="241" y="500"/>
                    </a:lnTo>
                    <a:lnTo>
                      <a:pt x="250" y="495"/>
                    </a:lnTo>
                    <a:lnTo>
                      <a:pt x="262" y="492"/>
                    </a:lnTo>
                    <a:lnTo>
                      <a:pt x="273" y="492"/>
                    </a:lnTo>
                    <a:lnTo>
                      <a:pt x="282" y="492"/>
                    </a:lnTo>
                    <a:lnTo>
                      <a:pt x="291" y="489"/>
                    </a:lnTo>
                    <a:lnTo>
                      <a:pt x="305" y="480"/>
                    </a:lnTo>
                    <a:lnTo>
                      <a:pt x="320" y="468"/>
                    </a:lnTo>
                    <a:lnTo>
                      <a:pt x="329" y="468"/>
                    </a:lnTo>
                    <a:lnTo>
                      <a:pt x="334" y="463"/>
                    </a:lnTo>
                    <a:lnTo>
                      <a:pt x="337" y="457"/>
                    </a:lnTo>
                    <a:lnTo>
                      <a:pt x="340" y="448"/>
                    </a:lnTo>
                    <a:lnTo>
                      <a:pt x="340" y="439"/>
                    </a:lnTo>
                    <a:lnTo>
                      <a:pt x="340" y="428"/>
                    </a:lnTo>
                    <a:lnTo>
                      <a:pt x="372" y="413"/>
                    </a:lnTo>
                    <a:lnTo>
                      <a:pt x="407" y="419"/>
                    </a:lnTo>
                    <a:lnTo>
                      <a:pt x="416" y="436"/>
                    </a:lnTo>
                    <a:lnTo>
                      <a:pt x="431" y="448"/>
                    </a:lnTo>
                    <a:lnTo>
                      <a:pt x="486" y="474"/>
                    </a:lnTo>
                    <a:lnTo>
                      <a:pt x="512" y="486"/>
                    </a:lnTo>
                    <a:lnTo>
                      <a:pt x="541" y="500"/>
                    </a:lnTo>
                    <a:lnTo>
                      <a:pt x="564" y="515"/>
                    </a:lnTo>
                    <a:lnTo>
                      <a:pt x="576" y="515"/>
                    </a:lnTo>
                    <a:lnTo>
                      <a:pt x="591" y="532"/>
                    </a:lnTo>
                    <a:lnTo>
                      <a:pt x="605" y="538"/>
                    </a:lnTo>
                    <a:lnTo>
                      <a:pt x="608" y="553"/>
                    </a:lnTo>
                    <a:lnTo>
                      <a:pt x="617" y="567"/>
                    </a:lnTo>
                    <a:lnTo>
                      <a:pt x="628" y="588"/>
                    </a:lnTo>
                    <a:lnTo>
                      <a:pt x="634" y="591"/>
                    </a:lnTo>
                    <a:lnTo>
                      <a:pt x="640" y="591"/>
                    </a:lnTo>
                    <a:lnTo>
                      <a:pt x="643" y="588"/>
                    </a:lnTo>
                    <a:lnTo>
                      <a:pt x="684" y="564"/>
                    </a:lnTo>
                    <a:lnTo>
                      <a:pt x="681" y="553"/>
                    </a:lnTo>
                    <a:lnTo>
                      <a:pt x="707" y="544"/>
                    </a:lnTo>
                    <a:lnTo>
                      <a:pt x="727" y="538"/>
                    </a:lnTo>
                    <a:lnTo>
                      <a:pt x="745" y="529"/>
                    </a:lnTo>
                    <a:lnTo>
                      <a:pt x="759" y="515"/>
                    </a:lnTo>
                    <a:lnTo>
                      <a:pt x="771" y="503"/>
                    </a:lnTo>
                    <a:lnTo>
                      <a:pt x="789" y="480"/>
                    </a:lnTo>
                    <a:lnTo>
                      <a:pt x="794" y="471"/>
                    </a:lnTo>
                    <a:lnTo>
                      <a:pt x="783" y="46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590"/>
              <p:cNvSpPr>
                <a:spLocks/>
              </p:cNvSpPr>
              <p:nvPr/>
            </p:nvSpPr>
            <p:spPr bwMode="auto">
              <a:xfrm>
                <a:off x="5453554" y="937213"/>
                <a:ext cx="424191" cy="112898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5"/>
                  </a:cxn>
                  <a:cxn ang="0">
                    <a:pos x="15" y="12"/>
                  </a:cxn>
                  <a:cxn ang="0">
                    <a:pos x="29" y="3"/>
                  </a:cxn>
                  <a:cxn ang="0">
                    <a:pos x="29" y="3"/>
                  </a:cxn>
                  <a:cxn ang="0">
                    <a:pos x="35" y="0"/>
                  </a:cxn>
                  <a:cxn ang="0">
                    <a:pos x="41" y="3"/>
                  </a:cxn>
                  <a:cxn ang="0">
                    <a:pos x="50" y="12"/>
                  </a:cxn>
                  <a:cxn ang="0">
                    <a:pos x="50" y="12"/>
                  </a:cxn>
                  <a:cxn ang="0">
                    <a:pos x="61" y="15"/>
                  </a:cxn>
                  <a:cxn ang="0">
                    <a:pos x="76" y="18"/>
                  </a:cxn>
                  <a:cxn ang="0">
                    <a:pos x="102" y="15"/>
                  </a:cxn>
                  <a:cxn ang="0">
                    <a:pos x="102" y="15"/>
                  </a:cxn>
                  <a:cxn ang="0">
                    <a:pos x="114" y="15"/>
                  </a:cxn>
                  <a:cxn ang="0">
                    <a:pos x="125" y="18"/>
                  </a:cxn>
                  <a:cxn ang="0">
                    <a:pos x="125" y="18"/>
                  </a:cxn>
                  <a:cxn ang="0">
                    <a:pos x="140" y="21"/>
                  </a:cxn>
                  <a:cxn ang="0">
                    <a:pos x="140" y="21"/>
                  </a:cxn>
                  <a:cxn ang="0">
                    <a:pos x="134" y="27"/>
                  </a:cxn>
                  <a:cxn ang="0">
                    <a:pos x="128" y="29"/>
                  </a:cxn>
                  <a:cxn ang="0">
                    <a:pos x="128" y="29"/>
                  </a:cxn>
                  <a:cxn ang="0">
                    <a:pos x="120" y="29"/>
                  </a:cxn>
                  <a:cxn ang="0">
                    <a:pos x="111" y="29"/>
                  </a:cxn>
                  <a:cxn ang="0">
                    <a:pos x="111" y="29"/>
                  </a:cxn>
                  <a:cxn ang="0">
                    <a:pos x="96" y="29"/>
                  </a:cxn>
                  <a:cxn ang="0">
                    <a:pos x="79" y="32"/>
                  </a:cxn>
                  <a:cxn ang="0">
                    <a:pos x="79" y="32"/>
                  </a:cxn>
                  <a:cxn ang="0">
                    <a:pos x="56" y="38"/>
                  </a:cxn>
                  <a:cxn ang="0">
                    <a:pos x="44" y="38"/>
                  </a:cxn>
                  <a:cxn ang="0">
                    <a:pos x="32" y="35"/>
                  </a:cxn>
                  <a:cxn ang="0">
                    <a:pos x="32" y="35"/>
                  </a:cxn>
                  <a:cxn ang="0">
                    <a:pos x="21" y="29"/>
                  </a:cxn>
                  <a:cxn ang="0">
                    <a:pos x="12" y="24"/>
                  </a:cxn>
                  <a:cxn ang="0">
                    <a:pos x="0" y="15"/>
                  </a:cxn>
                </a:cxnLst>
                <a:rect l="0" t="0" r="r" b="b"/>
                <a:pathLst>
                  <a:path w="140" h="38">
                    <a:moveTo>
                      <a:pt x="0" y="15"/>
                    </a:moveTo>
                    <a:lnTo>
                      <a:pt x="0" y="15"/>
                    </a:lnTo>
                    <a:lnTo>
                      <a:pt x="15" y="12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5" y="0"/>
                    </a:lnTo>
                    <a:lnTo>
                      <a:pt x="41" y="3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61" y="15"/>
                    </a:lnTo>
                    <a:lnTo>
                      <a:pt x="76" y="18"/>
                    </a:lnTo>
                    <a:lnTo>
                      <a:pt x="102" y="15"/>
                    </a:lnTo>
                    <a:lnTo>
                      <a:pt x="102" y="15"/>
                    </a:lnTo>
                    <a:lnTo>
                      <a:pt x="114" y="15"/>
                    </a:lnTo>
                    <a:lnTo>
                      <a:pt x="125" y="18"/>
                    </a:lnTo>
                    <a:lnTo>
                      <a:pt x="125" y="18"/>
                    </a:lnTo>
                    <a:lnTo>
                      <a:pt x="140" y="21"/>
                    </a:lnTo>
                    <a:lnTo>
                      <a:pt x="140" y="21"/>
                    </a:lnTo>
                    <a:lnTo>
                      <a:pt x="134" y="27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0" y="29"/>
                    </a:lnTo>
                    <a:lnTo>
                      <a:pt x="111" y="29"/>
                    </a:lnTo>
                    <a:lnTo>
                      <a:pt x="111" y="29"/>
                    </a:lnTo>
                    <a:lnTo>
                      <a:pt x="96" y="29"/>
                    </a:lnTo>
                    <a:lnTo>
                      <a:pt x="79" y="32"/>
                    </a:lnTo>
                    <a:lnTo>
                      <a:pt x="79" y="32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5"/>
                    </a:lnTo>
                    <a:lnTo>
                      <a:pt x="32" y="35"/>
                    </a:lnTo>
                    <a:lnTo>
                      <a:pt x="21" y="29"/>
                    </a:lnTo>
                    <a:lnTo>
                      <a:pt x="12" y="24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200">
                  <a:latin typeface="Calibri" charset="0"/>
                  <a:ea typeface="+mn-ea"/>
                </a:endParaRPr>
              </a:p>
            </p:txBody>
          </p:sp>
          <p:sp>
            <p:nvSpPr>
              <p:cNvPr id="83" name="Freeform 591"/>
              <p:cNvSpPr>
                <a:spLocks noEditPoints="1"/>
              </p:cNvSpPr>
              <p:nvPr/>
            </p:nvSpPr>
            <p:spPr bwMode="auto">
              <a:xfrm>
                <a:off x="5692162" y="877446"/>
                <a:ext cx="298261" cy="338687"/>
              </a:xfrm>
              <a:custGeom>
                <a:avLst/>
                <a:gdLst>
                  <a:gd name="T0" fmla="*/ 2147483647 w 99"/>
                  <a:gd name="T1" fmla="*/ 2147483647 h 113"/>
                  <a:gd name="T2" fmla="*/ 2147483647 w 99"/>
                  <a:gd name="T3" fmla="*/ 2147483647 h 113"/>
                  <a:gd name="T4" fmla="*/ 2147483647 w 99"/>
                  <a:gd name="T5" fmla="*/ 2147483647 h 113"/>
                  <a:gd name="T6" fmla="*/ 2147483647 w 99"/>
                  <a:gd name="T7" fmla="*/ 0 h 113"/>
                  <a:gd name="T8" fmla="*/ 2147483647 w 99"/>
                  <a:gd name="T9" fmla="*/ 2147483647 h 113"/>
                  <a:gd name="T10" fmla="*/ 2147483647 w 99"/>
                  <a:gd name="T11" fmla="*/ 2147483647 h 113"/>
                  <a:gd name="T12" fmla="*/ 2147483647 w 99"/>
                  <a:gd name="T13" fmla="*/ 2147483647 h 113"/>
                  <a:gd name="T14" fmla="*/ 2147483647 w 99"/>
                  <a:gd name="T15" fmla="*/ 2147483647 h 113"/>
                  <a:gd name="T16" fmla="*/ 0 w 99"/>
                  <a:gd name="T17" fmla="*/ 2147483647 h 113"/>
                  <a:gd name="T18" fmla="*/ 2147483647 w 99"/>
                  <a:gd name="T19" fmla="*/ 2147483647 h 113"/>
                  <a:gd name="T20" fmla="*/ 2147483647 w 99"/>
                  <a:gd name="T21" fmla="*/ 2147483647 h 113"/>
                  <a:gd name="T22" fmla="*/ 2147483647 w 99"/>
                  <a:gd name="T23" fmla="*/ 2147483647 h 113"/>
                  <a:gd name="T24" fmla="*/ 2147483647 w 99"/>
                  <a:gd name="T25" fmla="*/ 2147483647 h 113"/>
                  <a:gd name="T26" fmla="*/ 2147483647 w 99"/>
                  <a:gd name="T27" fmla="*/ 2147483647 h 113"/>
                  <a:gd name="T28" fmla="*/ 2147483647 w 99"/>
                  <a:gd name="T29" fmla="*/ 2147483647 h 113"/>
                  <a:gd name="T30" fmla="*/ 2147483647 w 99"/>
                  <a:gd name="T31" fmla="*/ 2147483647 h 113"/>
                  <a:gd name="T32" fmla="*/ 2147483647 w 99"/>
                  <a:gd name="T33" fmla="*/ 2147483647 h 113"/>
                  <a:gd name="T34" fmla="*/ 2147483647 w 99"/>
                  <a:gd name="T35" fmla="*/ 2147483647 h 113"/>
                  <a:gd name="T36" fmla="*/ 2147483647 w 99"/>
                  <a:gd name="T37" fmla="*/ 2147483647 h 113"/>
                  <a:gd name="T38" fmla="*/ 2147483647 w 99"/>
                  <a:gd name="T39" fmla="*/ 2147483647 h 113"/>
                  <a:gd name="T40" fmla="*/ 2147483647 w 99"/>
                  <a:gd name="T41" fmla="*/ 2147483647 h 113"/>
                  <a:gd name="T42" fmla="*/ 2147483647 w 99"/>
                  <a:gd name="T43" fmla="*/ 2147483647 h 113"/>
                  <a:gd name="T44" fmla="*/ 2147483647 w 99"/>
                  <a:gd name="T45" fmla="*/ 2147483647 h 113"/>
                  <a:gd name="T46" fmla="*/ 2147483647 w 99"/>
                  <a:gd name="T47" fmla="*/ 2147483647 h 113"/>
                  <a:gd name="T48" fmla="*/ 2147483647 w 99"/>
                  <a:gd name="T49" fmla="*/ 2147483647 h 113"/>
                  <a:gd name="T50" fmla="*/ 2147483647 w 99"/>
                  <a:gd name="T51" fmla="*/ 2147483647 h 113"/>
                  <a:gd name="T52" fmla="*/ 2147483647 w 99"/>
                  <a:gd name="T53" fmla="*/ 2147483647 h 113"/>
                  <a:gd name="T54" fmla="*/ 2147483647 w 99"/>
                  <a:gd name="T55" fmla="*/ 2147483647 h 11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9"/>
                  <a:gd name="T85" fmla="*/ 0 h 113"/>
                  <a:gd name="T86" fmla="*/ 99 w 99"/>
                  <a:gd name="T87" fmla="*/ 113 h 11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9" h="113">
                    <a:moveTo>
                      <a:pt x="73" y="38"/>
                    </a:moveTo>
                    <a:lnTo>
                      <a:pt x="70" y="29"/>
                    </a:lnTo>
                    <a:lnTo>
                      <a:pt x="64" y="12"/>
                    </a:lnTo>
                    <a:lnTo>
                      <a:pt x="38" y="0"/>
                    </a:lnTo>
                    <a:lnTo>
                      <a:pt x="41" y="17"/>
                    </a:lnTo>
                    <a:lnTo>
                      <a:pt x="35" y="32"/>
                    </a:lnTo>
                    <a:lnTo>
                      <a:pt x="26" y="49"/>
                    </a:lnTo>
                    <a:lnTo>
                      <a:pt x="6" y="79"/>
                    </a:lnTo>
                    <a:lnTo>
                      <a:pt x="0" y="113"/>
                    </a:lnTo>
                    <a:lnTo>
                      <a:pt x="3" y="108"/>
                    </a:lnTo>
                    <a:lnTo>
                      <a:pt x="17" y="102"/>
                    </a:lnTo>
                    <a:lnTo>
                      <a:pt x="32" y="96"/>
                    </a:lnTo>
                    <a:lnTo>
                      <a:pt x="46" y="93"/>
                    </a:lnTo>
                    <a:lnTo>
                      <a:pt x="58" y="90"/>
                    </a:lnTo>
                    <a:lnTo>
                      <a:pt x="64" y="90"/>
                    </a:lnTo>
                    <a:lnTo>
                      <a:pt x="81" y="79"/>
                    </a:lnTo>
                    <a:lnTo>
                      <a:pt x="93" y="61"/>
                    </a:lnTo>
                    <a:lnTo>
                      <a:pt x="99" y="41"/>
                    </a:lnTo>
                    <a:lnTo>
                      <a:pt x="73" y="38"/>
                    </a:lnTo>
                    <a:close/>
                    <a:moveTo>
                      <a:pt x="79" y="47"/>
                    </a:moveTo>
                    <a:lnTo>
                      <a:pt x="79" y="47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latin typeface="Calibri" charset="0"/>
                  <a:ea typeface="+mn-ea"/>
                </a:endParaRPr>
              </a:p>
            </p:txBody>
          </p:sp>
          <p:sp>
            <p:nvSpPr>
              <p:cNvPr id="17450" name="Freeform 592"/>
              <p:cNvSpPr>
                <a:spLocks/>
              </p:cNvSpPr>
              <p:nvPr/>
            </p:nvSpPr>
            <p:spPr bwMode="auto">
              <a:xfrm>
                <a:off x="5768176" y="982734"/>
                <a:ext cx="150727" cy="78378"/>
              </a:xfrm>
              <a:custGeom>
                <a:avLst/>
                <a:gdLst>
                  <a:gd name="T0" fmla="*/ 2147483647 w 50"/>
                  <a:gd name="T1" fmla="*/ 2147483647 h 26"/>
                  <a:gd name="T2" fmla="*/ 2147483647 w 50"/>
                  <a:gd name="T3" fmla="*/ 2147483647 h 26"/>
                  <a:gd name="T4" fmla="*/ 2147483647 w 50"/>
                  <a:gd name="T5" fmla="*/ 2147483647 h 26"/>
                  <a:gd name="T6" fmla="*/ 2147483647 w 50"/>
                  <a:gd name="T7" fmla="*/ 2147483647 h 26"/>
                  <a:gd name="T8" fmla="*/ 2147483647 w 50"/>
                  <a:gd name="T9" fmla="*/ 2147483647 h 26"/>
                  <a:gd name="T10" fmla="*/ 2147483647 w 50"/>
                  <a:gd name="T11" fmla="*/ 2147483647 h 26"/>
                  <a:gd name="T12" fmla="*/ 2147483647 w 50"/>
                  <a:gd name="T13" fmla="*/ 2147483647 h 26"/>
                  <a:gd name="T14" fmla="*/ 2147483647 w 50"/>
                  <a:gd name="T15" fmla="*/ 2147483647 h 26"/>
                  <a:gd name="T16" fmla="*/ 2147483647 w 50"/>
                  <a:gd name="T17" fmla="*/ 2147483647 h 26"/>
                  <a:gd name="T18" fmla="*/ 2147483647 w 50"/>
                  <a:gd name="T19" fmla="*/ 2147483647 h 26"/>
                  <a:gd name="T20" fmla="*/ 2147483647 w 50"/>
                  <a:gd name="T21" fmla="*/ 0 h 26"/>
                  <a:gd name="T22" fmla="*/ 2147483647 w 50"/>
                  <a:gd name="T23" fmla="*/ 0 h 26"/>
                  <a:gd name="T24" fmla="*/ 2147483647 w 50"/>
                  <a:gd name="T25" fmla="*/ 0 h 26"/>
                  <a:gd name="T26" fmla="*/ 2147483647 w 50"/>
                  <a:gd name="T27" fmla="*/ 0 h 26"/>
                  <a:gd name="T28" fmla="*/ 2147483647 w 50"/>
                  <a:gd name="T29" fmla="*/ 2147483647 h 26"/>
                  <a:gd name="T30" fmla="*/ 2147483647 w 50"/>
                  <a:gd name="T31" fmla="*/ 2147483647 h 26"/>
                  <a:gd name="T32" fmla="*/ 2147483647 w 50"/>
                  <a:gd name="T33" fmla="*/ 2147483647 h 26"/>
                  <a:gd name="T34" fmla="*/ 2147483647 w 50"/>
                  <a:gd name="T35" fmla="*/ 2147483647 h 26"/>
                  <a:gd name="T36" fmla="*/ 2147483647 w 50"/>
                  <a:gd name="T37" fmla="*/ 2147483647 h 26"/>
                  <a:gd name="T38" fmla="*/ 2147483647 w 50"/>
                  <a:gd name="T39" fmla="*/ 2147483647 h 26"/>
                  <a:gd name="T40" fmla="*/ 2147483647 w 50"/>
                  <a:gd name="T41" fmla="*/ 2147483647 h 26"/>
                  <a:gd name="T42" fmla="*/ 2147483647 w 50"/>
                  <a:gd name="T43" fmla="*/ 2147483647 h 26"/>
                  <a:gd name="T44" fmla="*/ 2147483647 w 50"/>
                  <a:gd name="T45" fmla="*/ 2147483647 h 26"/>
                  <a:gd name="T46" fmla="*/ 2147483647 w 50"/>
                  <a:gd name="T47" fmla="*/ 2147483647 h 26"/>
                  <a:gd name="T48" fmla="*/ 2147483647 w 50"/>
                  <a:gd name="T49" fmla="*/ 2147483647 h 26"/>
                  <a:gd name="T50" fmla="*/ 0 w 50"/>
                  <a:gd name="T51" fmla="*/ 2147483647 h 26"/>
                  <a:gd name="T52" fmla="*/ 0 w 50"/>
                  <a:gd name="T53" fmla="*/ 2147483647 h 26"/>
                  <a:gd name="T54" fmla="*/ 2147483647 w 50"/>
                  <a:gd name="T55" fmla="*/ 2147483647 h 26"/>
                  <a:gd name="T56" fmla="*/ 2147483647 w 50"/>
                  <a:gd name="T57" fmla="*/ 2147483647 h 2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0"/>
                  <a:gd name="T88" fmla="*/ 0 h 26"/>
                  <a:gd name="T89" fmla="*/ 50 w 50"/>
                  <a:gd name="T90" fmla="*/ 26 h 2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0" h="26">
                    <a:moveTo>
                      <a:pt x="9" y="14"/>
                    </a:moveTo>
                    <a:lnTo>
                      <a:pt x="9" y="14"/>
                    </a:lnTo>
                    <a:lnTo>
                      <a:pt x="18" y="17"/>
                    </a:lnTo>
                    <a:lnTo>
                      <a:pt x="29" y="23"/>
                    </a:lnTo>
                    <a:lnTo>
                      <a:pt x="38" y="26"/>
                    </a:lnTo>
                    <a:lnTo>
                      <a:pt x="44" y="26"/>
                    </a:lnTo>
                    <a:lnTo>
                      <a:pt x="47" y="23"/>
                    </a:lnTo>
                    <a:lnTo>
                      <a:pt x="50" y="14"/>
                    </a:lnTo>
                    <a:lnTo>
                      <a:pt x="50" y="6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38" y="6"/>
                    </a:lnTo>
                    <a:lnTo>
                      <a:pt x="35" y="9"/>
                    </a:lnTo>
                    <a:lnTo>
                      <a:pt x="32" y="12"/>
                    </a:lnTo>
                    <a:lnTo>
                      <a:pt x="23" y="9"/>
                    </a:lnTo>
                    <a:lnTo>
                      <a:pt x="15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17"/>
                    </a:lnTo>
                    <a:lnTo>
                      <a:pt x="9" y="1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7435" name="Group 70"/>
            <p:cNvGrpSpPr>
              <a:grpSpLocks/>
            </p:cNvGrpSpPr>
            <p:nvPr/>
          </p:nvGrpSpPr>
          <p:grpSpPr bwMode="auto">
            <a:xfrm>
              <a:off x="4037013" y="4071938"/>
              <a:ext cx="1098550" cy="1120775"/>
              <a:chOff x="4547783" y="4021788"/>
              <a:chExt cx="1334317" cy="1362074"/>
            </a:xfrm>
          </p:grpSpPr>
          <p:grpSp>
            <p:nvGrpSpPr>
              <p:cNvPr id="17436" name="Gruppe 83"/>
              <p:cNvGrpSpPr>
                <a:grpSpLocks/>
              </p:cNvGrpSpPr>
              <p:nvPr/>
            </p:nvGrpSpPr>
            <p:grpSpPr bwMode="auto">
              <a:xfrm>
                <a:off x="4547783" y="4021788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90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31000">
                      <a:schemeClr val="bg2">
                        <a:alpha val="21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91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92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2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87" name="&quot;No&quot; Symbol 86"/>
              <p:cNvSpPr/>
              <p:nvPr/>
            </p:nvSpPr>
            <p:spPr>
              <a:xfrm>
                <a:off x="4792863" y="4282968"/>
                <a:ext cx="844994" cy="848234"/>
              </a:xfrm>
              <a:prstGeom prst="noSmoking">
                <a:avLst>
                  <a:gd name="adj" fmla="val 14446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200">
                  <a:solidFill>
                    <a:schemeClr val="tx1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5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8526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3"/>
          <p:cNvGrpSpPr>
            <a:grpSpLocks/>
          </p:cNvGrpSpPr>
          <p:nvPr/>
        </p:nvGrpSpPr>
        <p:grpSpPr bwMode="auto">
          <a:xfrm>
            <a:off x="347663" y="2079625"/>
            <a:ext cx="3984625" cy="3251200"/>
            <a:chOff x="348373" y="2079623"/>
            <a:chExt cx="3983830" cy="3250824"/>
          </a:xfrm>
        </p:grpSpPr>
        <p:sp>
          <p:nvSpPr>
            <p:cNvPr id="18458" name="Tekstboks 6"/>
            <p:cNvSpPr txBox="1">
              <a:spLocks noChangeArrowheads="1"/>
            </p:cNvSpPr>
            <p:nvPr/>
          </p:nvSpPr>
          <p:spPr bwMode="auto">
            <a:xfrm>
              <a:off x="1750555" y="3548976"/>
              <a:ext cx="1995247" cy="288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 eaLnBrk="1" hangingPunct="1"/>
              <a:r>
                <a:rPr lang="da-DK" sz="1400" b="1">
                  <a:solidFill>
                    <a:srgbClr val="227088"/>
                  </a:solidFill>
                </a:rPr>
                <a:t>RIVALRY</a:t>
              </a:r>
            </a:p>
          </p:txBody>
        </p:sp>
        <p:sp>
          <p:nvSpPr>
            <p:cNvPr id="8" name="Donut 7"/>
            <p:cNvSpPr>
              <a:spLocks/>
            </p:cNvSpPr>
            <p:nvPr/>
          </p:nvSpPr>
          <p:spPr bwMode="auto">
            <a:xfrm rot="2700000">
              <a:off x="1494214" y="2457509"/>
              <a:ext cx="2504785" cy="2504575"/>
            </a:xfrm>
            <a:custGeom>
              <a:avLst/>
              <a:gdLst>
                <a:gd name="T0" fmla="*/ 0 w 2678113"/>
                <a:gd name="T1" fmla="*/ 1339850 h 2679700"/>
                <a:gd name="T2" fmla="*/ 1339057 w 2678113"/>
                <a:gd name="T3" fmla="*/ 0 h 2679700"/>
                <a:gd name="T4" fmla="*/ 2678114 w 2678113"/>
                <a:gd name="T5" fmla="*/ 1339850 h 2679700"/>
                <a:gd name="T6" fmla="*/ 1339057 w 2678113"/>
                <a:gd name="T7" fmla="*/ 2679700 h 2679700"/>
                <a:gd name="T8" fmla="*/ 0 w 2678113"/>
                <a:gd name="T9" fmla="*/ 1339850 h 2679700"/>
                <a:gd name="T10" fmla="*/ 322123 w 2678113"/>
                <a:gd name="T11" fmla="*/ 1339850 h 2679700"/>
                <a:gd name="T12" fmla="*/ 1339056 w 2678113"/>
                <a:gd name="T13" fmla="*/ 2357577 h 2679700"/>
                <a:gd name="T14" fmla="*/ 2355989 w 2678113"/>
                <a:gd name="T15" fmla="*/ 1339850 h 2679700"/>
                <a:gd name="T16" fmla="*/ 1339056 w 2678113"/>
                <a:gd name="T17" fmla="*/ 322123 h 2679700"/>
                <a:gd name="T18" fmla="*/ 322123 w 2678113"/>
                <a:gd name="T19" fmla="*/ 1339850 h 2679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78113" h="2679700">
                  <a:moveTo>
                    <a:pt x="0" y="1339850"/>
                  </a:moveTo>
                  <a:cubicBezTo>
                    <a:pt x="0" y="599871"/>
                    <a:pt x="599516" y="0"/>
                    <a:pt x="1339057" y="0"/>
                  </a:cubicBezTo>
                  <a:cubicBezTo>
                    <a:pt x="2078598" y="0"/>
                    <a:pt x="2678114" y="599871"/>
                    <a:pt x="2678114" y="1339850"/>
                  </a:cubicBezTo>
                  <a:cubicBezTo>
                    <a:pt x="2678114" y="2079829"/>
                    <a:pt x="2078598" y="2679700"/>
                    <a:pt x="1339057" y="2679700"/>
                  </a:cubicBezTo>
                  <a:cubicBezTo>
                    <a:pt x="599516" y="2679700"/>
                    <a:pt x="0" y="2079829"/>
                    <a:pt x="0" y="1339850"/>
                  </a:cubicBezTo>
                  <a:close/>
                  <a:moveTo>
                    <a:pt x="322123" y="1339850"/>
                  </a:moveTo>
                  <a:cubicBezTo>
                    <a:pt x="322123" y="1901925"/>
                    <a:pt x="777419" y="2357577"/>
                    <a:pt x="1339056" y="2357577"/>
                  </a:cubicBezTo>
                  <a:cubicBezTo>
                    <a:pt x="1900693" y="2357577"/>
                    <a:pt x="2355989" y="1901925"/>
                    <a:pt x="2355989" y="1339850"/>
                  </a:cubicBezTo>
                  <a:cubicBezTo>
                    <a:pt x="2355989" y="777775"/>
                    <a:pt x="1900693" y="322123"/>
                    <a:pt x="1339056" y="322123"/>
                  </a:cubicBezTo>
                  <a:cubicBezTo>
                    <a:pt x="777419" y="322123"/>
                    <a:pt x="322123" y="777775"/>
                    <a:pt x="322123" y="1339850"/>
                  </a:cubicBez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" name="Tåre 105"/>
            <p:cNvSpPr/>
            <p:nvPr/>
          </p:nvSpPr>
          <p:spPr bwMode="auto">
            <a:xfrm rot="8100000">
              <a:off x="2232986" y="2079623"/>
              <a:ext cx="1027105" cy="1032321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10" name="Tåre 106"/>
            <p:cNvSpPr/>
            <p:nvPr/>
          </p:nvSpPr>
          <p:spPr bwMode="auto">
            <a:xfrm rot="8100000">
              <a:off x="2297766" y="2227135"/>
              <a:ext cx="896407" cy="900958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1" name="Måne 107"/>
            <p:cNvSpPr/>
            <p:nvPr/>
          </p:nvSpPr>
          <p:spPr bwMode="auto">
            <a:xfrm rot="5245033">
              <a:off x="2567542" y="1832909"/>
              <a:ext cx="357995" cy="887778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6161" name="Gruppe 46"/>
            <p:cNvGrpSpPr>
              <a:grpSpLocks/>
            </p:cNvGrpSpPr>
            <p:nvPr/>
          </p:nvGrpSpPr>
          <p:grpSpPr bwMode="auto">
            <a:xfrm>
              <a:off x="2442360" y="2361329"/>
              <a:ext cx="699227" cy="519596"/>
              <a:chOff x="4821610" y="587829"/>
              <a:chExt cx="2393544" cy="1781593"/>
            </a:xfrm>
            <a:solidFill>
              <a:schemeClr val="bg1"/>
            </a:solidFill>
          </p:grpSpPr>
          <p:sp>
            <p:nvSpPr>
              <p:cNvPr id="6197" name="Freeform 528"/>
              <p:cNvSpPr>
                <a:spLocks/>
              </p:cNvSpPr>
              <p:nvPr/>
            </p:nvSpPr>
            <p:spPr bwMode="auto">
              <a:xfrm>
                <a:off x="4821610" y="587829"/>
                <a:ext cx="2393544" cy="1781593"/>
              </a:xfrm>
              <a:custGeom>
                <a:avLst/>
                <a:gdLst>
                  <a:gd name="T0" fmla="*/ 2147483647 w 794"/>
                  <a:gd name="T1" fmla="*/ 2147483647 h 591"/>
                  <a:gd name="T2" fmla="*/ 2147483647 w 794"/>
                  <a:gd name="T3" fmla="*/ 2147483647 h 591"/>
                  <a:gd name="T4" fmla="*/ 2147483647 w 794"/>
                  <a:gd name="T5" fmla="*/ 2147483647 h 591"/>
                  <a:gd name="T6" fmla="*/ 2147483647 w 794"/>
                  <a:gd name="T7" fmla="*/ 2147483647 h 591"/>
                  <a:gd name="T8" fmla="*/ 2147483647 w 794"/>
                  <a:gd name="T9" fmla="*/ 2147483647 h 591"/>
                  <a:gd name="T10" fmla="*/ 2147483647 w 794"/>
                  <a:gd name="T11" fmla="*/ 2147483647 h 591"/>
                  <a:gd name="T12" fmla="*/ 2147483647 w 794"/>
                  <a:gd name="T13" fmla="*/ 2147483647 h 591"/>
                  <a:gd name="T14" fmla="*/ 2147483647 w 794"/>
                  <a:gd name="T15" fmla="*/ 2147483647 h 591"/>
                  <a:gd name="T16" fmla="*/ 2147483647 w 794"/>
                  <a:gd name="T17" fmla="*/ 2147483647 h 591"/>
                  <a:gd name="T18" fmla="*/ 2147483647 w 794"/>
                  <a:gd name="T19" fmla="*/ 2147483647 h 591"/>
                  <a:gd name="T20" fmla="*/ 2147483647 w 794"/>
                  <a:gd name="T21" fmla="*/ 2147483647 h 591"/>
                  <a:gd name="T22" fmla="*/ 2147483647 w 794"/>
                  <a:gd name="T23" fmla="*/ 2147483647 h 591"/>
                  <a:gd name="T24" fmla="*/ 2147483647 w 794"/>
                  <a:gd name="T25" fmla="*/ 2147483647 h 591"/>
                  <a:gd name="T26" fmla="*/ 2147483647 w 794"/>
                  <a:gd name="T27" fmla="*/ 2147483647 h 591"/>
                  <a:gd name="T28" fmla="*/ 2147483647 w 794"/>
                  <a:gd name="T29" fmla="*/ 2147483647 h 591"/>
                  <a:gd name="T30" fmla="*/ 2147483647 w 794"/>
                  <a:gd name="T31" fmla="*/ 2147483647 h 591"/>
                  <a:gd name="T32" fmla="*/ 2147483647 w 794"/>
                  <a:gd name="T33" fmla="*/ 2147483647 h 591"/>
                  <a:gd name="T34" fmla="*/ 2147483647 w 794"/>
                  <a:gd name="T35" fmla="*/ 2147483647 h 591"/>
                  <a:gd name="T36" fmla="*/ 2147483647 w 794"/>
                  <a:gd name="T37" fmla="*/ 2147483647 h 591"/>
                  <a:gd name="T38" fmla="*/ 2147483647 w 794"/>
                  <a:gd name="T39" fmla="*/ 2147483647 h 591"/>
                  <a:gd name="T40" fmla="*/ 2147483647 w 794"/>
                  <a:gd name="T41" fmla="*/ 2147483647 h 591"/>
                  <a:gd name="T42" fmla="*/ 2147483647 w 794"/>
                  <a:gd name="T43" fmla="*/ 0 h 591"/>
                  <a:gd name="T44" fmla="*/ 2147483647 w 794"/>
                  <a:gd name="T45" fmla="*/ 2147483647 h 591"/>
                  <a:gd name="T46" fmla="*/ 2147483647 w 794"/>
                  <a:gd name="T47" fmla="*/ 2147483647 h 591"/>
                  <a:gd name="T48" fmla="*/ 2147483647 w 794"/>
                  <a:gd name="T49" fmla="*/ 2147483647 h 591"/>
                  <a:gd name="T50" fmla="*/ 2147483647 w 794"/>
                  <a:gd name="T51" fmla="*/ 2147483647 h 591"/>
                  <a:gd name="T52" fmla="*/ 2147483647 w 794"/>
                  <a:gd name="T53" fmla="*/ 2147483647 h 591"/>
                  <a:gd name="T54" fmla="*/ 0 w 794"/>
                  <a:gd name="T55" fmla="*/ 2147483647 h 591"/>
                  <a:gd name="T56" fmla="*/ 2147483647 w 794"/>
                  <a:gd name="T57" fmla="*/ 2147483647 h 591"/>
                  <a:gd name="T58" fmla="*/ 2147483647 w 794"/>
                  <a:gd name="T59" fmla="*/ 2147483647 h 591"/>
                  <a:gd name="T60" fmla="*/ 2147483647 w 794"/>
                  <a:gd name="T61" fmla="*/ 2147483647 h 591"/>
                  <a:gd name="T62" fmla="*/ 2147483647 w 794"/>
                  <a:gd name="T63" fmla="*/ 2147483647 h 591"/>
                  <a:gd name="T64" fmla="*/ 2147483647 w 794"/>
                  <a:gd name="T65" fmla="*/ 2147483647 h 591"/>
                  <a:gd name="T66" fmla="*/ 2147483647 w 794"/>
                  <a:gd name="T67" fmla="*/ 2147483647 h 591"/>
                  <a:gd name="T68" fmla="*/ 2147483647 w 794"/>
                  <a:gd name="T69" fmla="*/ 2147483647 h 591"/>
                  <a:gd name="T70" fmla="*/ 2147483647 w 794"/>
                  <a:gd name="T71" fmla="*/ 2147483647 h 591"/>
                  <a:gd name="T72" fmla="*/ 2147483647 w 794"/>
                  <a:gd name="T73" fmla="*/ 2147483647 h 591"/>
                  <a:gd name="T74" fmla="*/ 2147483647 w 794"/>
                  <a:gd name="T75" fmla="*/ 2147483647 h 591"/>
                  <a:gd name="T76" fmla="*/ 2147483647 w 794"/>
                  <a:gd name="T77" fmla="*/ 2147483647 h 591"/>
                  <a:gd name="T78" fmla="*/ 2147483647 w 794"/>
                  <a:gd name="T79" fmla="*/ 2147483647 h 591"/>
                  <a:gd name="T80" fmla="*/ 2147483647 w 794"/>
                  <a:gd name="T81" fmla="*/ 2147483647 h 591"/>
                  <a:gd name="T82" fmla="*/ 2147483647 w 794"/>
                  <a:gd name="T83" fmla="*/ 2147483647 h 591"/>
                  <a:gd name="T84" fmla="*/ 2147483647 w 794"/>
                  <a:gd name="T85" fmla="*/ 2147483647 h 591"/>
                  <a:gd name="T86" fmla="*/ 2147483647 w 794"/>
                  <a:gd name="T87" fmla="*/ 2147483647 h 591"/>
                  <a:gd name="T88" fmla="*/ 2147483647 w 794"/>
                  <a:gd name="T89" fmla="*/ 2147483647 h 591"/>
                  <a:gd name="T90" fmla="*/ 2147483647 w 794"/>
                  <a:gd name="T91" fmla="*/ 2147483647 h 591"/>
                  <a:gd name="T92" fmla="*/ 2147483647 w 794"/>
                  <a:gd name="T93" fmla="*/ 2147483647 h 591"/>
                  <a:gd name="T94" fmla="*/ 2147483647 w 794"/>
                  <a:gd name="T95" fmla="*/ 2147483647 h 591"/>
                  <a:gd name="T96" fmla="*/ 2147483647 w 794"/>
                  <a:gd name="T97" fmla="*/ 2147483647 h 591"/>
                  <a:gd name="T98" fmla="*/ 2147483647 w 794"/>
                  <a:gd name="T99" fmla="*/ 2147483647 h 591"/>
                  <a:gd name="T100" fmla="*/ 2147483647 w 794"/>
                  <a:gd name="T101" fmla="*/ 2147483647 h 5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94"/>
                  <a:gd name="T154" fmla="*/ 0 h 591"/>
                  <a:gd name="T155" fmla="*/ 794 w 794"/>
                  <a:gd name="T156" fmla="*/ 591 h 5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94" h="591">
                    <a:moveTo>
                      <a:pt x="783" y="463"/>
                    </a:moveTo>
                    <a:lnTo>
                      <a:pt x="771" y="468"/>
                    </a:lnTo>
                    <a:lnTo>
                      <a:pt x="757" y="474"/>
                    </a:lnTo>
                    <a:lnTo>
                      <a:pt x="742" y="480"/>
                    </a:lnTo>
                    <a:lnTo>
                      <a:pt x="719" y="486"/>
                    </a:lnTo>
                    <a:lnTo>
                      <a:pt x="704" y="486"/>
                    </a:lnTo>
                    <a:lnTo>
                      <a:pt x="698" y="486"/>
                    </a:lnTo>
                    <a:lnTo>
                      <a:pt x="687" y="480"/>
                    </a:lnTo>
                    <a:lnTo>
                      <a:pt x="675" y="480"/>
                    </a:lnTo>
                    <a:lnTo>
                      <a:pt x="660" y="480"/>
                    </a:lnTo>
                    <a:lnTo>
                      <a:pt x="655" y="486"/>
                    </a:lnTo>
                    <a:lnTo>
                      <a:pt x="617" y="474"/>
                    </a:lnTo>
                    <a:lnTo>
                      <a:pt x="620" y="428"/>
                    </a:lnTo>
                    <a:lnTo>
                      <a:pt x="570" y="404"/>
                    </a:lnTo>
                    <a:lnTo>
                      <a:pt x="556" y="404"/>
                    </a:lnTo>
                    <a:lnTo>
                      <a:pt x="521" y="387"/>
                    </a:lnTo>
                    <a:lnTo>
                      <a:pt x="480" y="375"/>
                    </a:lnTo>
                    <a:lnTo>
                      <a:pt x="474" y="369"/>
                    </a:lnTo>
                    <a:lnTo>
                      <a:pt x="460" y="361"/>
                    </a:lnTo>
                    <a:lnTo>
                      <a:pt x="445" y="364"/>
                    </a:lnTo>
                    <a:lnTo>
                      <a:pt x="419" y="340"/>
                    </a:lnTo>
                    <a:lnTo>
                      <a:pt x="401" y="335"/>
                    </a:lnTo>
                    <a:lnTo>
                      <a:pt x="375" y="329"/>
                    </a:lnTo>
                    <a:lnTo>
                      <a:pt x="320" y="332"/>
                    </a:lnTo>
                    <a:lnTo>
                      <a:pt x="326" y="311"/>
                    </a:lnTo>
                    <a:lnTo>
                      <a:pt x="305" y="303"/>
                    </a:lnTo>
                    <a:lnTo>
                      <a:pt x="265" y="308"/>
                    </a:lnTo>
                    <a:lnTo>
                      <a:pt x="285" y="288"/>
                    </a:lnTo>
                    <a:lnTo>
                      <a:pt x="297" y="282"/>
                    </a:lnTo>
                    <a:lnTo>
                      <a:pt x="308" y="271"/>
                    </a:lnTo>
                    <a:lnTo>
                      <a:pt x="314" y="262"/>
                    </a:lnTo>
                    <a:lnTo>
                      <a:pt x="352" y="241"/>
                    </a:lnTo>
                    <a:lnTo>
                      <a:pt x="381" y="256"/>
                    </a:lnTo>
                    <a:lnTo>
                      <a:pt x="407" y="271"/>
                    </a:lnTo>
                    <a:lnTo>
                      <a:pt x="451" y="294"/>
                    </a:lnTo>
                    <a:lnTo>
                      <a:pt x="465" y="294"/>
                    </a:lnTo>
                    <a:lnTo>
                      <a:pt x="477" y="291"/>
                    </a:lnTo>
                    <a:lnTo>
                      <a:pt x="483" y="285"/>
                    </a:lnTo>
                    <a:lnTo>
                      <a:pt x="506" y="262"/>
                    </a:lnTo>
                    <a:lnTo>
                      <a:pt x="532" y="239"/>
                    </a:lnTo>
                    <a:lnTo>
                      <a:pt x="564" y="212"/>
                    </a:lnTo>
                    <a:lnTo>
                      <a:pt x="562" y="198"/>
                    </a:lnTo>
                    <a:lnTo>
                      <a:pt x="564" y="189"/>
                    </a:lnTo>
                    <a:lnTo>
                      <a:pt x="579" y="166"/>
                    </a:lnTo>
                    <a:lnTo>
                      <a:pt x="588" y="157"/>
                    </a:lnTo>
                    <a:lnTo>
                      <a:pt x="596" y="148"/>
                    </a:lnTo>
                    <a:lnTo>
                      <a:pt x="602" y="137"/>
                    </a:lnTo>
                    <a:lnTo>
                      <a:pt x="605" y="113"/>
                    </a:lnTo>
                    <a:lnTo>
                      <a:pt x="596" y="105"/>
                    </a:lnTo>
                    <a:lnTo>
                      <a:pt x="559" y="105"/>
                    </a:lnTo>
                    <a:lnTo>
                      <a:pt x="556" y="111"/>
                    </a:lnTo>
                    <a:lnTo>
                      <a:pt x="541" y="122"/>
                    </a:lnTo>
                    <a:lnTo>
                      <a:pt x="541" y="128"/>
                    </a:lnTo>
                    <a:lnTo>
                      <a:pt x="541" y="134"/>
                    </a:lnTo>
                    <a:lnTo>
                      <a:pt x="541" y="137"/>
                    </a:lnTo>
                    <a:lnTo>
                      <a:pt x="544" y="148"/>
                    </a:lnTo>
                    <a:lnTo>
                      <a:pt x="541" y="157"/>
                    </a:lnTo>
                    <a:lnTo>
                      <a:pt x="535" y="169"/>
                    </a:lnTo>
                    <a:lnTo>
                      <a:pt x="509" y="198"/>
                    </a:lnTo>
                    <a:lnTo>
                      <a:pt x="486" y="209"/>
                    </a:lnTo>
                    <a:lnTo>
                      <a:pt x="465" y="227"/>
                    </a:lnTo>
                    <a:lnTo>
                      <a:pt x="457" y="233"/>
                    </a:lnTo>
                    <a:lnTo>
                      <a:pt x="451" y="230"/>
                    </a:lnTo>
                    <a:lnTo>
                      <a:pt x="448" y="224"/>
                    </a:lnTo>
                    <a:lnTo>
                      <a:pt x="422" y="207"/>
                    </a:lnTo>
                    <a:lnTo>
                      <a:pt x="407" y="186"/>
                    </a:lnTo>
                    <a:lnTo>
                      <a:pt x="416" y="160"/>
                    </a:lnTo>
                    <a:lnTo>
                      <a:pt x="410" y="145"/>
                    </a:lnTo>
                    <a:lnTo>
                      <a:pt x="399" y="140"/>
                    </a:lnTo>
                    <a:lnTo>
                      <a:pt x="407" y="137"/>
                    </a:lnTo>
                    <a:lnTo>
                      <a:pt x="413" y="131"/>
                    </a:lnTo>
                    <a:lnTo>
                      <a:pt x="413" y="111"/>
                    </a:lnTo>
                    <a:lnTo>
                      <a:pt x="419" y="96"/>
                    </a:lnTo>
                    <a:lnTo>
                      <a:pt x="422" y="96"/>
                    </a:lnTo>
                    <a:lnTo>
                      <a:pt x="425" y="93"/>
                    </a:lnTo>
                    <a:lnTo>
                      <a:pt x="428" y="90"/>
                    </a:lnTo>
                    <a:lnTo>
                      <a:pt x="422" y="76"/>
                    </a:lnTo>
                    <a:lnTo>
                      <a:pt x="425" y="55"/>
                    </a:lnTo>
                    <a:lnTo>
                      <a:pt x="422" y="44"/>
                    </a:lnTo>
                    <a:lnTo>
                      <a:pt x="428" y="44"/>
                    </a:lnTo>
                    <a:lnTo>
                      <a:pt x="431" y="41"/>
                    </a:lnTo>
                    <a:lnTo>
                      <a:pt x="433" y="35"/>
                    </a:lnTo>
                    <a:lnTo>
                      <a:pt x="431" y="32"/>
                    </a:lnTo>
                    <a:lnTo>
                      <a:pt x="422" y="26"/>
                    </a:lnTo>
                    <a:lnTo>
                      <a:pt x="416" y="20"/>
                    </a:lnTo>
                    <a:lnTo>
                      <a:pt x="407" y="12"/>
                    </a:lnTo>
                    <a:lnTo>
                      <a:pt x="399" y="9"/>
                    </a:lnTo>
                    <a:lnTo>
                      <a:pt x="390" y="6"/>
                    </a:lnTo>
                    <a:lnTo>
                      <a:pt x="378" y="3"/>
                    </a:lnTo>
                    <a:lnTo>
                      <a:pt x="367" y="0"/>
                    </a:lnTo>
                    <a:lnTo>
                      <a:pt x="358" y="0"/>
                    </a:lnTo>
                    <a:lnTo>
                      <a:pt x="343" y="6"/>
                    </a:lnTo>
                    <a:lnTo>
                      <a:pt x="334" y="9"/>
                    </a:lnTo>
                    <a:lnTo>
                      <a:pt x="329" y="15"/>
                    </a:lnTo>
                    <a:lnTo>
                      <a:pt x="317" y="26"/>
                    </a:lnTo>
                    <a:lnTo>
                      <a:pt x="311" y="41"/>
                    </a:lnTo>
                    <a:lnTo>
                      <a:pt x="308" y="55"/>
                    </a:lnTo>
                    <a:lnTo>
                      <a:pt x="305" y="76"/>
                    </a:lnTo>
                    <a:lnTo>
                      <a:pt x="282" y="55"/>
                    </a:lnTo>
                    <a:lnTo>
                      <a:pt x="273" y="49"/>
                    </a:lnTo>
                    <a:lnTo>
                      <a:pt x="265" y="47"/>
                    </a:lnTo>
                    <a:lnTo>
                      <a:pt x="253" y="47"/>
                    </a:lnTo>
                    <a:lnTo>
                      <a:pt x="244" y="49"/>
                    </a:lnTo>
                    <a:lnTo>
                      <a:pt x="230" y="55"/>
                    </a:lnTo>
                    <a:lnTo>
                      <a:pt x="224" y="58"/>
                    </a:lnTo>
                    <a:lnTo>
                      <a:pt x="206" y="67"/>
                    </a:lnTo>
                    <a:lnTo>
                      <a:pt x="174" y="67"/>
                    </a:lnTo>
                    <a:lnTo>
                      <a:pt x="142" y="76"/>
                    </a:lnTo>
                    <a:lnTo>
                      <a:pt x="122" y="79"/>
                    </a:lnTo>
                    <a:lnTo>
                      <a:pt x="105" y="81"/>
                    </a:lnTo>
                    <a:lnTo>
                      <a:pt x="93" y="87"/>
                    </a:lnTo>
                    <a:lnTo>
                      <a:pt x="84" y="96"/>
                    </a:lnTo>
                    <a:lnTo>
                      <a:pt x="17" y="201"/>
                    </a:lnTo>
                    <a:lnTo>
                      <a:pt x="17" y="207"/>
                    </a:lnTo>
                    <a:lnTo>
                      <a:pt x="6" y="207"/>
                    </a:lnTo>
                    <a:lnTo>
                      <a:pt x="0" y="224"/>
                    </a:lnTo>
                    <a:lnTo>
                      <a:pt x="6" y="233"/>
                    </a:lnTo>
                    <a:lnTo>
                      <a:pt x="11" y="236"/>
                    </a:lnTo>
                    <a:lnTo>
                      <a:pt x="14" y="241"/>
                    </a:lnTo>
                    <a:lnTo>
                      <a:pt x="29" y="244"/>
                    </a:lnTo>
                    <a:lnTo>
                      <a:pt x="43" y="247"/>
                    </a:lnTo>
                    <a:lnTo>
                      <a:pt x="49" y="239"/>
                    </a:lnTo>
                    <a:lnTo>
                      <a:pt x="52" y="233"/>
                    </a:lnTo>
                    <a:lnTo>
                      <a:pt x="55" y="221"/>
                    </a:lnTo>
                    <a:lnTo>
                      <a:pt x="70" y="207"/>
                    </a:lnTo>
                    <a:lnTo>
                      <a:pt x="73" y="198"/>
                    </a:lnTo>
                    <a:lnTo>
                      <a:pt x="93" y="175"/>
                    </a:lnTo>
                    <a:lnTo>
                      <a:pt x="96" y="166"/>
                    </a:lnTo>
                    <a:lnTo>
                      <a:pt x="105" y="166"/>
                    </a:lnTo>
                    <a:lnTo>
                      <a:pt x="134" y="143"/>
                    </a:lnTo>
                    <a:lnTo>
                      <a:pt x="160" y="140"/>
                    </a:lnTo>
                    <a:lnTo>
                      <a:pt x="183" y="134"/>
                    </a:lnTo>
                    <a:lnTo>
                      <a:pt x="183" y="140"/>
                    </a:lnTo>
                    <a:lnTo>
                      <a:pt x="139" y="215"/>
                    </a:lnTo>
                    <a:lnTo>
                      <a:pt x="131" y="221"/>
                    </a:lnTo>
                    <a:lnTo>
                      <a:pt x="128" y="227"/>
                    </a:lnTo>
                    <a:lnTo>
                      <a:pt x="128" y="241"/>
                    </a:lnTo>
                    <a:lnTo>
                      <a:pt x="116" y="244"/>
                    </a:lnTo>
                    <a:lnTo>
                      <a:pt x="110" y="253"/>
                    </a:lnTo>
                    <a:lnTo>
                      <a:pt x="73" y="291"/>
                    </a:lnTo>
                    <a:lnTo>
                      <a:pt x="73" y="303"/>
                    </a:lnTo>
                    <a:lnTo>
                      <a:pt x="78" y="317"/>
                    </a:lnTo>
                    <a:lnTo>
                      <a:pt x="84" y="337"/>
                    </a:lnTo>
                    <a:lnTo>
                      <a:pt x="87" y="361"/>
                    </a:lnTo>
                    <a:lnTo>
                      <a:pt x="90" y="364"/>
                    </a:lnTo>
                    <a:lnTo>
                      <a:pt x="93" y="375"/>
                    </a:lnTo>
                    <a:lnTo>
                      <a:pt x="99" y="390"/>
                    </a:lnTo>
                    <a:lnTo>
                      <a:pt x="105" y="399"/>
                    </a:lnTo>
                    <a:lnTo>
                      <a:pt x="113" y="410"/>
                    </a:lnTo>
                    <a:lnTo>
                      <a:pt x="128" y="422"/>
                    </a:lnTo>
                    <a:lnTo>
                      <a:pt x="134" y="428"/>
                    </a:lnTo>
                    <a:lnTo>
                      <a:pt x="137" y="436"/>
                    </a:lnTo>
                    <a:lnTo>
                      <a:pt x="125" y="433"/>
                    </a:lnTo>
                    <a:lnTo>
                      <a:pt x="113" y="436"/>
                    </a:lnTo>
                    <a:lnTo>
                      <a:pt x="102" y="442"/>
                    </a:lnTo>
                    <a:lnTo>
                      <a:pt x="96" y="433"/>
                    </a:lnTo>
                    <a:lnTo>
                      <a:pt x="90" y="428"/>
                    </a:lnTo>
                    <a:lnTo>
                      <a:pt x="84" y="425"/>
                    </a:lnTo>
                    <a:lnTo>
                      <a:pt x="78" y="425"/>
                    </a:lnTo>
                    <a:lnTo>
                      <a:pt x="73" y="428"/>
                    </a:lnTo>
                    <a:lnTo>
                      <a:pt x="64" y="431"/>
                    </a:lnTo>
                    <a:lnTo>
                      <a:pt x="64" y="436"/>
                    </a:lnTo>
                    <a:lnTo>
                      <a:pt x="43" y="463"/>
                    </a:lnTo>
                    <a:lnTo>
                      <a:pt x="55" y="468"/>
                    </a:lnTo>
                    <a:lnTo>
                      <a:pt x="38" y="480"/>
                    </a:lnTo>
                    <a:lnTo>
                      <a:pt x="26" y="492"/>
                    </a:lnTo>
                    <a:lnTo>
                      <a:pt x="17" y="506"/>
                    </a:lnTo>
                    <a:lnTo>
                      <a:pt x="11" y="521"/>
                    </a:lnTo>
                    <a:lnTo>
                      <a:pt x="8" y="535"/>
                    </a:lnTo>
                    <a:lnTo>
                      <a:pt x="8" y="556"/>
                    </a:lnTo>
                    <a:lnTo>
                      <a:pt x="8" y="564"/>
                    </a:lnTo>
                    <a:lnTo>
                      <a:pt x="38" y="561"/>
                    </a:lnTo>
                    <a:lnTo>
                      <a:pt x="43" y="550"/>
                    </a:lnTo>
                    <a:lnTo>
                      <a:pt x="55" y="538"/>
                    </a:lnTo>
                    <a:lnTo>
                      <a:pt x="67" y="529"/>
                    </a:lnTo>
                    <a:lnTo>
                      <a:pt x="81" y="524"/>
                    </a:lnTo>
                    <a:lnTo>
                      <a:pt x="105" y="515"/>
                    </a:lnTo>
                    <a:lnTo>
                      <a:pt x="116" y="512"/>
                    </a:lnTo>
                    <a:lnTo>
                      <a:pt x="119" y="529"/>
                    </a:lnTo>
                    <a:lnTo>
                      <a:pt x="163" y="512"/>
                    </a:lnTo>
                    <a:lnTo>
                      <a:pt x="206" y="506"/>
                    </a:lnTo>
                    <a:lnTo>
                      <a:pt x="215" y="503"/>
                    </a:lnTo>
                    <a:lnTo>
                      <a:pt x="241" y="500"/>
                    </a:lnTo>
                    <a:lnTo>
                      <a:pt x="250" y="495"/>
                    </a:lnTo>
                    <a:lnTo>
                      <a:pt x="262" y="492"/>
                    </a:lnTo>
                    <a:lnTo>
                      <a:pt x="273" y="492"/>
                    </a:lnTo>
                    <a:lnTo>
                      <a:pt x="282" y="492"/>
                    </a:lnTo>
                    <a:lnTo>
                      <a:pt x="291" y="489"/>
                    </a:lnTo>
                    <a:lnTo>
                      <a:pt x="305" y="480"/>
                    </a:lnTo>
                    <a:lnTo>
                      <a:pt x="320" y="468"/>
                    </a:lnTo>
                    <a:lnTo>
                      <a:pt x="329" y="468"/>
                    </a:lnTo>
                    <a:lnTo>
                      <a:pt x="334" y="463"/>
                    </a:lnTo>
                    <a:lnTo>
                      <a:pt x="337" y="457"/>
                    </a:lnTo>
                    <a:lnTo>
                      <a:pt x="340" y="448"/>
                    </a:lnTo>
                    <a:lnTo>
                      <a:pt x="340" y="439"/>
                    </a:lnTo>
                    <a:lnTo>
                      <a:pt x="340" y="428"/>
                    </a:lnTo>
                    <a:lnTo>
                      <a:pt x="372" y="413"/>
                    </a:lnTo>
                    <a:lnTo>
                      <a:pt x="407" y="419"/>
                    </a:lnTo>
                    <a:lnTo>
                      <a:pt x="416" y="436"/>
                    </a:lnTo>
                    <a:lnTo>
                      <a:pt x="431" y="448"/>
                    </a:lnTo>
                    <a:lnTo>
                      <a:pt x="486" y="474"/>
                    </a:lnTo>
                    <a:lnTo>
                      <a:pt x="512" y="486"/>
                    </a:lnTo>
                    <a:lnTo>
                      <a:pt x="541" y="500"/>
                    </a:lnTo>
                    <a:lnTo>
                      <a:pt x="564" y="515"/>
                    </a:lnTo>
                    <a:lnTo>
                      <a:pt x="576" y="515"/>
                    </a:lnTo>
                    <a:lnTo>
                      <a:pt x="591" y="532"/>
                    </a:lnTo>
                    <a:lnTo>
                      <a:pt x="605" y="538"/>
                    </a:lnTo>
                    <a:lnTo>
                      <a:pt x="608" y="553"/>
                    </a:lnTo>
                    <a:lnTo>
                      <a:pt x="617" y="567"/>
                    </a:lnTo>
                    <a:lnTo>
                      <a:pt x="628" y="588"/>
                    </a:lnTo>
                    <a:lnTo>
                      <a:pt x="634" y="591"/>
                    </a:lnTo>
                    <a:lnTo>
                      <a:pt x="640" y="591"/>
                    </a:lnTo>
                    <a:lnTo>
                      <a:pt x="643" y="588"/>
                    </a:lnTo>
                    <a:lnTo>
                      <a:pt x="684" y="564"/>
                    </a:lnTo>
                    <a:lnTo>
                      <a:pt x="681" y="553"/>
                    </a:lnTo>
                    <a:lnTo>
                      <a:pt x="707" y="544"/>
                    </a:lnTo>
                    <a:lnTo>
                      <a:pt x="727" y="538"/>
                    </a:lnTo>
                    <a:lnTo>
                      <a:pt x="745" y="529"/>
                    </a:lnTo>
                    <a:lnTo>
                      <a:pt x="759" y="515"/>
                    </a:lnTo>
                    <a:lnTo>
                      <a:pt x="771" y="503"/>
                    </a:lnTo>
                    <a:lnTo>
                      <a:pt x="789" y="480"/>
                    </a:lnTo>
                    <a:lnTo>
                      <a:pt x="794" y="471"/>
                    </a:lnTo>
                    <a:lnTo>
                      <a:pt x="783" y="4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4" name="Freeform 590"/>
              <p:cNvSpPr>
                <a:spLocks/>
              </p:cNvSpPr>
              <p:nvPr/>
            </p:nvSpPr>
            <p:spPr bwMode="auto">
              <a:xfrm>
                <a:off x="5451757" y="939056"/>
                <a:ext cx="421794" cy="111986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5"/>
                  </a:cxn>
                  <a:cxn ang="0">
                    <a:pos x="15" y="12"/>
                  </a:cxn>
                  <a:cxn ang="0">
                    <a:pos x="29" y="3"/>
                  </a:cxn>
                  <a:cxn ang="0">
                    <a:pos x="29" y="3"/>
                  </a:cxn>
                  <a:cxn ang="0">
                    <a:pos x="35" y="0"/>
                  </a:cxn>
                  <a:cxn ang="0">
                    <a:pos x="41" y="3"/>
                  </a:cxn>
                  <a:cxn ang="0">
                    <a:pos x="50" y="12"/>
                  </a:cxn>
                  <a:cxn ang="0">
                    <a:pos x="50" y="12"/>
                  </a:cxn>
                  <a:cxn ang="0">
                    <a:pos x="61" y="15"/>
                  </a:cxn>
                  <a:cxn ang="0">
                    <a:pos x="76" y="18"/>
                  </a:cxn>
                  <a:cxn ang="0">
                    <a:pos x="102" y="15"/>
                  </a:cxn>
                  <a:cxn ang="0">
                    <a:pos x="102" y="15"/>
                  </a:cxn>
                  <a:cxn ang="0">
                    <a:pos x="114" y="15"/>
                  </a:cxn>
                  <a:cxn ang="0">
                    <a:pos x="125" y="18"/>
                  </a:cxn>
                  <a:cxn ang="0">
                    <a:pos x="125" y="18"/>
                  </a:cxn>
                  <a:cxn ang="0">
                    <a:pos x="140" y="21"/>
                  </a:cxn>
                  <a:cxn ang="0">
                    <a:pos x="140" y="21"/>
                  </a:cxn>
                  <a:cxn ang="0">
                    <a:pos x="134" y="27"/>
                  </a:cxn>
                  <a:cxn ang="0">
                    <a:pos x="128" y="29"/>
                  </a:cxn>
                  <a:cxn ang="0">
                    <a:pos x="128" y="29"/>
                  </a:cxn>
                  <a:cxn ang="0">
                    <a:pos x="120" y="29"/>
                  </a:cxn>
                  <a:cxn ang="0">
                    <a:pos x="111" y="29"/>
                  </a:cxn>
                  <a:cxn ang="0">
                    <a:pos x="111" y="29"/>
                  </a:cxn>
                  <a:cxn ang="0">
                    <a:pos x="96" y="29"/>
                  </a:cxn>
                  <a:cxn ang="0">
                    <a:pos x="79" y="32"/>
                  </a:cxn>
                  <a:cxn ang="0">
                    <a:pos x="79" y="32"/>
                  </a:cxn>
                  <a:cxn ang="0">
                    <a:pos x="56" y="38"/>
                  </a:cxn>
                  <a:cxn ang="0">
                    <a:pos x="44" y="38"/>
                  </a:cxn>
                  <a:cxn ang="0">
                    <a:pos x="32" y="35"/>
                  </a:cxn>
                  <a:cxn ang="0">
                    <a:pos x="32" y="35"/>
                  </a:cxn>
                  <a:cxn ang="0">
                    <a:pos x="21" y="29"/>
                  </a:cxn>
                  <a:cxn ang="0">
                    <a:pos x="12" y="24"/>
                  </a:cxn>
                  <a:cxn ang="0">
                    <a:pos x="0" y="15"/>
                  </a:cxn>
                </a:cxnLst>
                <a:rect l="0" t="0" r="r" b="b"/>
                <a:pathLst>
                  <a:path w="140" h="38">
                    <a:moveTo>
                      <a:pt x="0" y="15"/>
                    </a:moveTo>
                    <a:lnTo>
                      <a:pt x="0" y="15"/>
                    </a:lnTo>
                    <a:lnTo>
                      <a:pt x="15" y="12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5" y="0"/>
                    </a:lnTo>
                    <a:lnTo>
                      <a:pt x="41" y="3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61" y="15"/>
                    </a:lnTo>
                    <a:lnTo>
                      <a:pt x="76" y="18"/>
                    </a:lnTo>
                    <a:lnTo>
                      <a:pt x="102" y="15"/>
                    </a:lnTo>
                    <a:lnTo>
                      <a:pt x="102" y="15"/>
                    </a:lnTo>
                    <a:lnTo>
                      <a:pt x="114" y="15"/>
                    </a:lnTo>
                    <a:lnTo>
                      <a:pt x="125" y="18"/>
                    </a:lnTo>
                    <a:lnTo>
                      <a:pt x="125" y="18"/>
                    </a:lnTo>
                    <a:lnTo>
                      <a:pt x="140" y="21"/>
                    </a:lnTo>
                    <a:lnTo>
                      <a:pt x="140" y="21"/>
                    </a:lnTo>
                    <a:lnTo>
                      <a:pt x="134" y="27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0" y="29"/>
                    </a:lnTo>
                    <a:lnTo>
                      <a:pt x="111" y="29"/>
                    </a:lnTo>
                    <a:lnTo>
                      <a:pt x="111" y="29"/>
                    </a:lnTo>
                    <a:lnTo>
                      <a:pt x="96" y="29"/>
                    </a:lnTo>
                    <a:lnTo>
                      <a:pt x="79" y="32"/>
                    </a:lnTo>
                    <a:lnTo>
                      <a:pt x="79" y="32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5"/>
                    </a:lnTo>
                    <a:lnTo>
                      <a:pt x="32" y="35"/>
                    </a:lnTo>
                    <a:lnTo>
                      <a:pt x="21" y="29"/>
                    </a:lnTo>
                    <a:lnTo>
                      <a:pt x="12" y="24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latin typeface="Calibri" charset="0"/>
                  <a:ea typeface="+mn-ea"/>
                </a:endParaRPr>
              </a:p>
            </p:txBody>
          </p:sp>
          <p:sp>
            <p:nvSpPr>
              <p:cNvPr id="15" name="Freeform 591"/>
              <p:cNvSpPr>
                <a:spLocks noEditPoints="1"/>
              </p:cNvSpPr>
              <p:nvPr/>
            </p:nvSpPr>
            <p:spPr bwMode="auto">
              <a:xfrm>
                <a:off x="5690605" y="877973"/>
                <a:ext cx="299826" cy="341049"/>
              </a:xfrm>
              <a:custGeom>
                <a:avLst/>
                <a:gdLst>
                  <a:gd name="T0" fmla="*/ 2147483647 w 99"/>
                  <a:gd name="T1" fmla="*/ 2147483647 h 113"/>
                  <a:gd name="T2" fmla="*/ 2147483647 w 99"/>
                  <a:gd name="T3" fmla="*/ 2147483647 h 113"/>
                  <a:gd name="T4" fmla="*/ 2147483647 w 99"/>
                  <a:gd name="T5" fmla="*/ 2147483647 h 113"/>
                  <a:gd name="T6" fmla="*/ 2147483647 w 99"/>
                  <a:gd name="T7" fmla="*/ 0 h 113"/>
                  <a:gd name="T8" fmla="*/ 2147483647 w 99"/>
                  <a:gd name="T9" fmla="*/ 2147483647 h 113"/>
                  <a:gd name="T10" fmla="*/ 2147483647 w 99"/>
                  <a:gd name="T11" fmla="*/ 2147483647 h 113"/>
                  <a:gd name="T12" fmla="*/ 2147483647 w 99"/>
                  <a:gd name="T13" fmla="*/ 2147483647 h 113"/>
                  <a:gd name="T14" fmla="*/ 2147483647 w 99"/>
                  <a:gd name="T15" fmla="*/ 2147483647 h 113"/>
                  <a:gd name="T16" fmla="*/ 0 w 99"/>
                  <a:gd name="T17" fmla="*/ 2147483647 h 113"/>
                  <a:gd name="T18" fmla="*/ 2147483647 w 99"/>
                  <a:gd name="T19" fmla="*/ 2147483647 h 113"/>
                  <a:gd name="T20" fmla="*/ 2147483647 w 99"/>
                  <a:gd name="T21" fmla="*/ 2147483647 h 113"/>
                  <a:gd name="T22" fmla="*/ 2147483647 w 99"/>
                  <a:gd name="T23" fmla="*/ 2147483647 h 113"/>
                  <a:gd name="T24" fmla="*/ 2147483647 w 99"/>
                  <a:gd name="T25" fmla="*/ 2147483647 h 113"/>
                  <a:gd name="T26" fmla="*/ 2147483647 w 99"/>
                  <a:gd name="T27" fmla="*/ 2147483647 h 113"/>
                  <a:gd name="T28" fmla="*/ 2147483647 w 99"/>
                  <a:gd name="T29" fmla="*/ 2147483647 h 113"/>
                  <a:gd name="T30" fmla="*/ 2147483647 w 99"/>
                  <a:gd name="T31" fmla="*/ 2147483647 h 113"/>
                  <a:gd name="T32" fmla="*/ 2147483647 w 99"/>
                  <a:gd name="T33" fmla="*/ 2147483647 h 113"/>
                  <a:gd name="T34" fmla="*/ 2147483647 w 99"/>
                  <a:gd name="T35" fmla="*/ 2147483647 h 113"/>
                  <a:gd name="T36" fmla="*/ 2147483647 w 99"/>
                  <a:gd name="T37" fmla="*/ 2147483647 h 113"/>
                  <a:gd name="T38" fmla="*/ 2147483647 w 99"/>
                  <a:gd name="T39" fmla="*/ 2147483647 h 113"/>
                  <a:gd name="T40" fmla="*/ 2147483647 w 99"/>
                  <a:gd name="T41" fmla="*/ 2147483647 h 113"/>
                  <a:gd name="T42" fmla="*/ 2147483647 w 99"/>
                  <a:gd name="T43" fmla="*/ 2147483647 h 113"/>
                  <a:gd name="T44" fmla="*/ 2147483647 w 99"/>
                  <a:gd name="T45" fmla="*/ 2147483647 h 113"/>
                  <a:gd name="T46" fmla="*/ 2147483647 w 99"/>
                  <a:gd name="T47" fmla="*/ 2147483647 h 113"/>
                  <a:gd name="T48" fmla="*/ 2147483647 w 99"/>
                  <a:gd name="T49" fmla="*/ 2147483647 h 113"/>
                  <a:gd name="T50" fmla="*/ 2147483647 w 99"/>
                  <a:gd name="T51" fmla="*/ 2147483647 h 113"/>
                  <a:gd name="T52" fmla="*/ 2147483647 w 99"/>
                  <a:gd name="T53" fmla="*/ 2147483647 h 113"/>
                  <a:gd name="T54" fmla="*/ 2147483647 w 99"/>
                  <a:gd name="T55" fmla="*/ 2147483647 h 11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9"/>
                  <a:gd name="T85" fmla="*/ 0 h 113"/>
                  <a:gd name="T86" fmla="*/ 99 w 99"/>
                  <a:gd name="T87" fmla="*/ 113 h 11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9" h="113">
                    <a:moveTo>
                      <a:pt x="73" y="38"/>
                    </a:moveTo>
                    <a:lnTo>
                      <a:pt x="70" y="29"/>
                    </a:lnTo>
                    <a:lnTo>
                      <a:pt x="64" y="12"/>
                    </a:lnTo>
                    <a:lnTo>
                      <a:pt x="38" y="0"/>
                    </a:lnTo>
                    <a:lnTo>
                      <a:pt x="41" y="17"/>
                    </a:lnTo>
                    <a:lnTo>
                      <a:pt x="35" y="32"/>
                    </a:lnTo>
                    <a:lnTo>
                      <a:pt x="26" y="49"/>
                    </a:lnTo>
                    <a:lnTo>
                      <a:pt x="6" y="79"/>
                    </a:lnTo>
                    <a:lnTo>
                      <a:pt x="0" y="113"/>
                    </a:lnTo>
                    <a:lnTo>
                      <a:pt x="3" y="108"/>
                    </a:lnTo>
                    <a:lnTo>
                      <a:pt x="17" y="102"/>
                    </a:lnTo>
                    <a:lnTo>
                      <a:pt x="32" y="96"/>
                    </a:lnTo>
                    <a:lnTo>
                      <a:pt x="46" y="93"/>
                    </a:lnTo>
                    <a:lnTo>
                      <a:pt x="58" y="90"/>
                    </a:lnTo>
                    <a:lnTo>
                      <a:pt x="64" y="90"/>
                    </a:lnTo>
                    <a:lnTo>
                      <a:pt x="81" y="79"/>
                    </a:lnTo>
                    <a:lnTo>
                      <a:pt x="93" y="61"/>
                    </a:lnTo>
                    <a:lnTo>
                      <a:pt x="99" y="41"/>
                    </a:lnTo>
                    <a:lnTo>
                      <a:pt x="73" y="38"/>
                    </a:lnTo>
                    <a:close/>
                    <a:moveTo>
                      <a:pt x="79" y="47"/>
                    </a:moveTo>
                    <a:lnTo>
                      <a:pt x="79" y="4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Calibri" charset="0"/>
                  <a:ea typeface="+mn-ea"/>
                </a:endParaRPr>
              </a:p>
            </p:txBody>
          </p:sp>
          <p:sp>
            <p:nvSpPr>
              <p:cNvPr id="6200" name="Freeform 592"/>
              <p:cNvSpPr>
                <a:spLocks/>
              </p:cNvSpPr>
              <p:nvPr/>
            </p:nvSpPr>
            <p:spPr bwMode="auto">
              <a:xfrm>
                <a:off x="5768176" y="982734"/>
                <a:ext cx="150727" cy="78378"/>
              </a:xfrm>
              <a:custGeom>
                <a:avLst/>
                <a:gdLst>
                  <a:gd name="T0" fmla="*/ 2147483647 w 50"/>
                  <a:gd name="T1" fmla="*/ 2147483647 h 26"/>
                  <a:gd name="T2" fmla="*/ 2147483647 w 50"/>
                  <a:gd name="T3" fmla="*/ 2147483647 h 26"/>
                  <a:gd name="T4" fmla="*/ 2147483647 w 50"/>
                  <a:gd name="T5" fmla="*/ 2147483647 h 26"/>
                  <a:gd name="T6" fmla="*/ 2147483647 w 50"/>
                  <a:gd name="T7" fmla="*/ 2147483647 h 26"/>
                  <a:gd name="T8" fmla="*/ 2147483647 w 50"/>
                  <a:gd name="T9" fmla="*/ 2147483647 h 26"/>
                  <a:gd name="T10" fmla="*/ 2147483647 w 50"/>
                  <a:gd name="T11" fmla="*/ 2147483647 h 26"/>
                  <a:gd name="T12" fmla="*/ 2147483647 w 50"/>
                  <a:gd name="T13" fmla="*/ 2147483647 h 26"/>
                  <a:gd name="T14" fmla="*/ 2147483647 w 50"/>
                  <a:gd name="T15" fmla="*/ 2147483647 h 26"/>
                  <a:gd name="T16" fmla="*/ 2147483647 w 50"/>
                  <a:gd name="T17" fmla="*/ 2147483647 h 26"/>
                  <a:gd name="T18" fmla="*/ 2147483647 w 50"/>
                  <a:gd name="T19" fmla="*/ 2147483647 h 26"/>
                  <a:gd name="T20" fmla="*/ 2147483647 w 50"/>
                  <a:gd name="T21" fmla="*/ 0 h 26"/>
                  <a:gd name="T22" fmla="*/ 2147483647 w 50"/>
                  <a:gd name="T23" fmla="*/ 0 h 26"/>
                  <a:gd name="T24" fmla="*/ 2147483647 w 50"/>
                  <a:gd name="T25" fmla="*/ 0 h 26"/>
                  <a:gd name="T26" fmla="*/ 2147483647 w 50"/>
                  <a:gd name="T27" fmla="*/ 0 h 26"/>
                  <a:gd name="T28" fmla="*/ 2147483647 w 50"/>
                  <a:gd name="T29" fmla="*/ 2147483647 h 26"/>
                  <a:gd name="T30" fmla="*/ 2147483647 w 50"/>
                  <a:gd name="T31" fmla="*/ 2147483647 h 26"/>
                  <a:gd name="T32" fmla="*/ 2147483647 w 50"/>
                  <a:gd name="T33" fmla="*/ 2147483647 h 26"/>
                  <a:gd name="T34" fmla="*/ 2147483647 w 50"/>
                  <a:gd name="T35" fmla="*/ 2147483647 h 26"/>
                  <a:gd name="T36" fmla="*/ 2147483647 w 50"/>
                  <a:gd name="T37" fmla="*/ 2147483647 h 26"/>
                  <a:gd name="T38" fmla="*/ 2147483647 w 50"/>
                  <a:gd name="T39" fmla="*/ 2147483647 h 26"/>
                  <a:gd name="T40" fmla="*/ 2147483647 w 50"/>
                  <a:gd name="T41" fmla="*/ 2147483647 h 26"/>
                  <a:gd name="T42" fmla="*/ 2147483647 w 50"/>
                  <a:gd name="T43" fmla="*/ 2147483647 h 26"/>
                  <a:gd name="T44" fmla="*/ 2147483647 w 50"/>
                  <a:gd name="T45" fmla="*/ 2147483647 h 26"/>
                  <a:gd name="T46" fmla="*/ 2147483647 w 50"/>
                  <a:gd name="T47" fmla="*/ 2147483647 h 26"/>
                  <a:gd name="T48" fmla="*/ 2147483647 w 50"/>
                  <a:gd name="T49" fmla="*/ 2147483647 h 26"/>
                  <a:gd name="T50" fmla="*/ 0 w 50"/>
                  <a:gd name="T51" fmla="*/ 2147483647 h 26"/>
                  <a:gd name="T52" fmla="*/ 0 w 50"/>
                  <a:gd name="T53" fmla="*/ 2147483647 h 26"/>
                  <a:gd name="T54" fmla="*/ 2147483647 w 50"/>
                  <a:gd name="T55" fmla="*/ 2147483647 h 26"/>
                  <a:gd name="T56" fmla="*/ 2147483647 w 50"/>
                  <a:gd name="T57" fmla="*/ 2147483647 h 2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0"/>
                  <a:gd name="T88" fmla="*/ 0 h 26"/>
                  <a:gd name="T89" fmla="*/ 50 w 50"/>
                  <a:gd name="T90" fmla="*/ 26 h 2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0" h="26">
                    <a:moveTo>
                      <a:pt x="9" y="14"/>
                    </a:moveTo>
                    <a:lnTo>
                      <a:pt x="9" y="14"/>
                    </a:lnTo>
                    <a:lnTo>
                      <a:pt x="18" y="17"/>
                    </a:lnTo>
                    <a:lnTo>
                      <a:pt x="29" y="23"/>
                    </a:lnTo>
                    <a:lnTo>
                      <a:pt x="38" y="26"/>
                    </a:lnTo>
                    <a:lnTo>
                      <a:pt x="44" y="26"/>
                    </a:lnTo>
                    <a:lnTo>
                      <a:pt x="47" y="23"/>
                    </a:lnTo>
                    <a:lnTo>
                      <a:pt x="50" y="14"/>
                    </a:lnTo>
                    <a:lnTo>
                      <a:pt x="50" y="6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38" y="6"/>
                    </a:lnTo>
                    <a:lnTo>
                      <a:pt x="35" y="9"/>
                    </a:lnTo>
                    <a:lnTo>
                      <a:pt x="32" y="12"/>
                    </a:lnTo>
                    <a:lnTo>
                      <a:pt x="23" y="9"/>
                    </a:lnTo>
                    <a:lnTo>
                      <a:pt x="15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17"/>
                    </a:lnTo>
                    <a:lnTo>
                      <a:pt x="9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8470" name="Group 70"/>
            <p:cNvGrpSpPr>
              <a:grpSpLocks/>
            </p:cNvGrpSpPr>
            <p:nvPr/>
          </p:nvGrpSpPr>
          <p:grpSpPr bwMode="auto">
            <a:xfrm>
              <a:off x="2233037" y="4282348"/>
              <a:ext cx="1027314" cy="1048099"/>
              <a:chOff x="4547783" y="4021788"/>
              <a:chExt cx="1334317" cy="1362074"/>
            </a:xfrm>
          </p:grpSpPr>
          <p:grpSp>
            <p:nvGrpSpPr>
              <p:cNvPr id="18485" name="Gruppe 83"/>
              <p:cNvGrpSpPr>
                <a:grpSpLocks/>
              </p:cNvGrpSpPr>
              <p:nvPr/>
            </p:nvGrpSpPr>
            <p:grpSpPr bwMode="auto">
              <a:xfrm>
                <a:off x="4547783" y="4021788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22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31000">
                      <a:schemeClr val="bg2">
                        <a:alpha val="21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23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24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19" name="&quot;No&quot; Symbol 18"/>
              <p:cNvSpPr/>
              <p:nvPr/>
            </p:nvSpPr>
            <p:spPr>
              <a:xfrm>
                <a:off x="4792221" y="4284378"/>
                <a:ext cx="847275" cy="847820"/>
              </a:xfrm>
              <a:prstGeom prst="noSmoking">
                <a:avLst>
                  <a:gd name="adj" fmla="val 14446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chemeClr val="tx1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27" name="Tåre 105"/>
            <p:cNvSpPr/>
            <p:nvPr/>
          </p:nvSpPr>
          <p:spPr bwMode="auto">
            <a:xfrm rot="2700000">
              <a:off x="352194" y="2860079"/>
              <a:ext cx="1692304" cy="1699946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2A9B18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18474" name="Group 65"/>
            <p:cNvGrpSpPr>
              <a:grpSpLocks/>
            </p:cNvGrpSpPr>
            <p:nvPr/>
          </p:nvGrpSpPr>
          <p:grpSpPr bwMode="auto">
            <a:xfrm>
              <a:off x="3284105" y="3197138"/>
              <a:ext cx="1048098" cy="1027315"/>
              <a:chOff x="6413505" y="2443937"/>
              <a:chExt cx="1362074" cy="1334317"/>
            </a:xfrm>
          </p:grpSpPr>
          <p:grpSp>
            <p:nvGrpSpPr>
              <p:cNvPr id="18476" name="Gruppe 83"/>
              <p:cNvGrpSpPr>
                <a:grpSpLocks/>
              </p:cNvGrpSpPr>
              <p:nvPr/>
            </p:nvGrpSpPr>
            <p:grpSpPr bwMode="auto">
              <a:xfrm rot="-5400000">
                <a:off x="6427383" y="2430059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33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63000">
                      <a:srgbClr val="CE202A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  <a:reflection stA="25000" endPos="35000" dist="12700" dir="5400000" sy="-100000" algn="bl" rotWithShape="0"/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-128"/>
                    <a:cs typeface="ＭＳ Ｐゴシック" charset="-128"/>
                  </a:endParaRPr>
                </a:p>
              </p:txBody>
            </p:sp>
            <p:sp>
              <p:nvSpPr>
                <p:cNvPr id="34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35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18477" name="Freeform 6"/>
              <p:cNvSpPr>
                <a:spLocks noEditPoints="1"/>
              </p:cNvSpPr>
              <p:nvPr/>
            </p:nvSpPr>
            <p:spPr bwMode="auto">
              <a:xfrm>
                <a:off x="6896100" y="2679700"/>
                <a:ext cx="462364" cy="911224"/>
              </a:xfrm>
              <a:custGeom>
                <a:avLst/>
                <a:gdLst>
                  <a:gd name="T0" fmla="*/ 2147483647 w 1746"/>
                  <a:gd name="T1" fmla="*/ 2147483647 h 3442"/>
                  <a:gd name="T2" fmla="*/ 2147483647 w 1746"/>
                  <a:gd name="T3" fmla="*/ 2147483647 h 3442"/>
                  <a:gd name="T4" fmla="*/ 2147483647 w 1746"/>
                  <a:gd name="T5" fmla="*/ 2147483647 h 3442"/>
                  <a:gd name="T6" fmla="*/ 2147483647 w 1746"/>
                  <a:gd name="T7" fmla="*/ 2147483647 h 3442"/>
                  <a:gd name="T8" fmla="*/ 2147483647 w 1746"/>
                  <a:gd name="T9" fmla="*/ 2147483647 h 3442"/>
                  <a:gd name="T10" fmla="*/ 2147483647 w 1746"/>
                  <a:gd name="T11" fmla="*/ 2147483647 h 3442"/>
                  <a:gd name="T12" fmla="*/ 2147483647 w 1746"/>
                  <a:gd name="T13" fmla="*/ 2147483647 h 3442"/>
                  <a:gd name="T14" fmla="*/ 2147483647 w 1746"/>
                  <a:gd name="T15" fmla="*/ 2147483647 h 3442"/>
                  <a:gd name="T16" fmla="*/ 2147483647 w 1746"/>
                  <a:gd name="T17" fmla="*/ 2147483647 h 3442"/>
                  <a:gd name="T18" fmla="*/ 2147483647 w 1746"/>
                  <a:gd name="T19" fmla="*/ 2147483647 h 3442"/>
                  <a:gd name="T20" fmla="*/ 2147483647 w 1746"/>
                  <a:gd name="T21" fmla="*/ 2147483647 h 3442"/>
                  <a:gd name="T22" fmla="*/ 2147483647 w 1746"/>
                  <a:gd name="T23" fmla="*/ 2147483647 h 3442"/>
                  <a:gd name="T24" fmla="*/ 2147483647 w 1746"/>
                  <a:gd name="T25" fmla="*/ 2147483647 h 3442"/>
                  <a:gd name="T26" fmla="*/ 2147483647 w 1746"/>
                  <a:gd name="T27" fmla="*/ 2147483647 h 3442"/>
                  <a:gd name="T28" fmla="*/ 2147483647 w 1746"/>
                  <a:gd name="T29" fmla="*/ 2147483647 h 3442"/>
                  <a:gd name="T30" fmla="*/ 2147483647 w 1746"/>
                  <a:gd name="T31" fmla="*/ 2147483647 h 3442"/>
                  <a:gd name="T32" fmla="*/ 2147483647 w 1746"/>
                  <a:gd name="T33" fmla="*/ 2147483647 h 3442"/>
                  <a:gd name="T34" fmla="*/ 2147483647 w 1746"/>
                  <a:gd name="T35" fmla="*/ 2147483647 h 3442"/>
                  <a:gd name="T36" fmla="*/ 2147483647 w 1746"/>
                  <a:gd name="T37" fmla="*/ 2147483647 h 3442"/>
                  <a:gd name="T38" fmla="*/ 0 w 1746"/>
                  <a:gd name="T39" fmla="*/ 2147483647 h 3442"/>
                  <a:gd name="T40" fmla="*/ 2147483647 w 1746"/>
                  <a:gd name="T41" fmla="*/ 2147483647 h 3442"/>
                  <a:gd name="T42" fmla="*/ 2147483647 w 1746"/>
                  <a:gd name="T43" fmla="*/ 2147483647 h 3442"/>
                  <a:gd name="T44" fmla="*/ 2147483647 w 1746"/>
                  <a:gd name="T45" fmla="*/ 2147483647 h 3442"/>
                  <a:gd name="T46" fmla="*/ 2147483647 w 1746"/>
                  <a:gd name="T47" fmla="*/ 2147483647 h 3442"/>
                  <a:gd name="T48" fmla="*/ 2147483647 w 1746"/>
                  <a:gd name="T49" fmla="*/ 2147483647 h 3442"/>
                  <a:gd name="T50" fmla="*/ 2147483647 w 1746"/>
                  <a:gd name="T51" fmla="*/ 2147483647 h 3442"/>
                  <a:gd name="T52" fmla="*/ 2147483647 w 1746"/>
                  <a:gd name="T53" fmla="*/ 2147483647 h 3442"/>
                  <a:gd name="T54" fmla="*/ 2147483647 w 1746"/>
                  <a:gd name="T55" fmla="*/ 2147483647 h 3442"/>
                  <a:gd name="T56" fmla="*/ 2147483647 w 1746"/>
                  <a:gd name="T57" fmla="*/ 2147483647 h 3442"/>
                  <a:gd name="T58" fmla="*/ 2147483647 w 1746"/>
                  <a:gd name="T59" fmla="*/ 2147483647 h 3442"/>
                  <a:gd name="T60" fmla="*/ 2147483647 w 1746"/>
                  <a:gd name="T61" fmla="*/ 2147483647 h 3442"/>
                  <a:gd name="T62" fmla="*/ 2147483647 w 1746"/>
                  <a:gd name="T63" fmla="*/ 2147483647 h 3442"/>
                  <a:gd name="T64" fmla="*/ 2147483647 w 1746"/>
                  <a:gd name="T65" fmla="*/ 2147483647 h 3442"/>
                  <a:gd name="T66" fmla="*/ 2147483647 w 1746"/>
                  <a:gd name="T67" fmla="*/ 2147483647 h 3442"/>
                  <a:gd name="T68" fmla="*/ 2147483647 w 1746"/>
                  <a:gd name="T69" fmla="*/ 2147483647 h 3442"/>
                  <a:gd name="T70" fmla="*/ 2147483647 w 1746"/>
                  <a:gd name="T71" fmla="*/ 2147483647 h 3442"/>
                  <a:gd name="T72" fmla="*/ 2147483647 w 1746"/>
                  <a:gd name="T73" fmla="*/ 2147483647 h 3442"/>
                  <a:gd name="T74" fmla="*/ 2147483647 w 1746"/>
                  <a:gd name="T75" fmla="*/ 2147483647 h 3442"/>
                  <a:gd name="T76" fmla="*/ 2147483647 w 1746"/>
                  <a:gd name="T77" fmla="*/ 2147483647 h 3442"/>
                  <a:gd name="T78" fmla="*/ 2147483647 w 1746"/>
                  <a:gd name="T79" fmla="*/ 2147483647 h 3442"/>
                  <a:gd name="T80" fmla="*/ 2147483647 w 1746"/>
                  <a:gd name="T81" fmla="*/ 2147483647 h 3442"/>
                  <a:gd name="T82" fmla="*/ 2147483647 w 1746"/>
                  <a:gd name="T83" fmla="*/ 2147483647 h 3442"/>
                  <a:gd name="T84" fmla="*/ 2147483647 w 1746"/>
                  <a:gd name="T85" fmla="*/ 2147483647 h 3442"/>
                  <a:gd name="T86" fmla="*/ 2147483647 w 1746"/>
                  <a:gd name="T87" fmla="*/ 2147483647 h 3442"/>
                  <a:gd name="T88" fmla="*/ 2147483647 w 1746"/>
                  <a:gd name="T89" fmla="*/ 2147483647 h 3442"/>
                  <a:gd name="T90" fmla="*/ 2147483647 w 1746"/>
                  <a:gd name="T91" fmla="*/ 2147483647 h 3442"/>
                  <a:gd name="T92" fmla="*/ 2147483647 w 1746"/>
                  <a:gd name="T93" fmla="*/ 2147483647 h 3442"/>
                  <a:gd name="T94" fmla="*/ 2147483647 w 1746"/>
                  <a:gd name="T95" fmla="*/ 2147483647 h 3442"/>
                  <a:gd name="T96" fmla="*/ 2147483647 w 1746"/>
                  <a:gd name="T97" fmla="*/ 2147483647 h 3442"/>
                  <a:gd name="T98" fmla="*/ 2147483647 w 1746"/>
                  <a:gd name="T99" fmla="*/ 2147483647 h 3442"/>
                  <a:gd name="T100" fmla="*/ 2147483647 w 1746"/>
                  <a:gd name="T101" fmla="*/ 2147483647 h 3442"/>
                  <a:gd name="T102" fmla="*/ 2147483647 w 1746"/>
                  <a:gd name="T103" fmla="*/ 2147483647 h 3442"/>
                  <a:gd name="T104" fmla="*/ 2147483647 w 1746"/>
                  <a:gd name="T105" fmla="*/ 2147483647 h 3442"/>
                  <a:gd name="T106" fmla="*/ 2147483647 w 1746"/>
                  <a:gd name="T107" fmla="*/ 2147483647 h 3442"/>
                  <a:gd name="T108" fmla="*/ 2147483647 w 1746"/>
                  <a:gd name="T109" fmla="*/ 2147483647 h 3442"/>
                  <a:gd name="T110" fmla="*/ 2147483647 w 1746"/>
                  <a:gd name="T111" fmla="*/ 2147483647 h 3442"/>
                  <a:gd name="T112" fmla="*/ 2147483647 w 1746"/>
                  <a:gd name="T113" fmla="*/ 2147483647 h 3442"/>
                  <a:gd name="T114" fmla="*/ 2147483647 w 1746"/>
                  <a:gd name="T115" fmla="*/ 2147483647 h 3442"/>
                  <a:gd name="T116" fmla="*/ 2147483647 w 1746"/>
                  <a:gd name="T117" fmla="*/ 2147483647 h 3442"/>
                  <a:gd name="T118" fmla="*/ 2147483647 w 1746"/>
                  <a:gd name="T119" fmla="*/ 2147483647 h 344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746"/>
                  <a:gd name="T181" fmla="*/ 0 h 3442"/>
                  <a:gd name="T182" fmla="*/ 1746 w 1746"/>
                  <a:gd name="T183" fmla="*/ 3442 h 344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746" h="3442">
                    <a:moveTo>
                      <a:pt x="1746" y="1446"/>
                    </a:moveTo>
                    <a:lnTo>
                      <a:pt x="1746" y="1446"/>
                    </a:lnTo>
                    <a:lnTo>
                      <a:pt x="1746" y="1392"/>
                    </a:lnTo>
                    <a:lnTo>
                      <a:pt x="1746" y="1266"/>
                    </a:lnTo>
                    <a:lnTo>
                      <a:pt x="1744" y="1240"/>
                    </a:lnTo>
                    <a:lnTo>
                      <a:pt x="1738" y="1214"/>
                    </a:lnTo>
                    <a:lnTo>
                      <a:pt x="1714" y="1146"/>
                    </a:lnTo>
                    <a:lnTo>
                      <a:pt x="1706" y="1120"/>
                    </a:lnTo>
                    <a:lnTo>
                      <a:pt x="1702" y="1094"/>
                    </a:lnTo>
                    <a:lnTo>
                      <a:pt x="1694" y="1002"/>
                    </a:lnTo>
                    <a:lnTo>
                      <a:pt x="1688" y="948"/>
                    </a:lnTo>
                    <a:lnTo>
                      <a:pt x="1670" y="822"/>
                    </a:lnTo>
                    <a:lnTo>
                      <a:pt x="1668" y="794"/>
                    </a:lnTo>
                    <a:lnTo>
                      <a:pt x="1666" y="766"/>
                    </a:lnTo>
                    <a:lnTo>
                      <a:pt x="1666" y="738"/>
                    </a:lnTo>
                    <a:lnTo>
                      <a:pt x="1664" y="714"/>
                    </a:lnTo>
                    <a:lnTo>
                      <a:pt x="1662" y="704"/>
                    </a:lnTo>
                    <a:lnTo>
                      <a:pt x="1658" y="696"/>
                    </a:lnTo>
                    <a:lnTo>
                      <a:pt x="1648" y="686"/>
                    </a:lnTo>
                    <a:lnTo>
                      <a:pt x="1636" y="678"/>
                    </a:lnTo>
                    <a:lnTo>
                      <a:pt x="1616" y="668"/>
                    </a:lnTo>
                    <a:lnTo>
                      <a:pt x="1602" y="660"/>
                    </a:lnTo>
                    <a:lnTo>
                      <a:pt x="1582" y="652"/>
                    </a:lnTo>
                    <a:lnTo>
                      <a:pt x="1426" y="588"/>
                    </a:lnTo>
                    <a:lnTo>
                      <a:pt x="1416" y="582"/>
                    </a:lnTo>
                    <a:lnTo>
                      <a:pt x="1406" y="574"/>
                    </a:lnTo>
                    <a:lnTo>
                      <a:pt x="1398" y="564"/>
                    </a:lnTo>
                    <a:lnTo>
                      <a:pt x="1394" y="554"/>
                    </a:lnTo>
                    <a:lnTo>
                      <a:pt x="1392" y="542"/>
                    </a:lnTo>
                    <a:lnTo>
                      <a:pt x="1394" y="532"/>
                    </a:lnTo>
                    <a:lnTo>
                      <a:pt x="1396" y="524"/>
                    </a:lnTo>
                    <a:lnTo>
                      <a:pt x="1402" y="516"/>
                    </a:lnTo>
                    <a:lnTo>
                      <a:pt x="1416" y="500"/>
                    </a:lnTo>
                    <a:lnTo>
                      <a:pt x="1430" y="480"/>
                    </a:lnTo>
                    <a:lnTo>
                      <a:pt x="1442" y="458"/>
                    </a:lnTo>
                    <a:lnTo>
                      <a:pt x="1448" y="446"/>
                    </a:lnTo>
                    <a:lnTo>
                      <a:pt x="1452" y="432"/>
                    </a:lnTo>
                    <a:lnTo>
                      <a:pt x="1456" y="418"/>
                    </a:lnTo>
                    <a:lnTo>
                      <a:pt x="1460" y="406"/>
                    </a:lnTo>
                    <a:lnTo>
                      <a:pt x="1468" y="340"/>
                    </a:lnTo>
                    <a:lnTo>
                      <a:pt x="1470" y="312"/>
                    </a:lnTo>
                    <a:lnTo>
                      <a:pt x="1472" y="286"/>
                    </a:lnTo>
                    <a:lnTo>
                      <a:pt x="1472" y="266"/>
                    </a:lnTo>
                    <a:lnTo>
                      <a:pt x="1470" y="244"/>
                    </a:lnTo>
                    <a:lnTo>
                      <a:pt x="1466" y="234"/>
                    </a:lnTo>
                    <a:lnTo>
                      <a:pt x="1464" y="228"/>
                    </a:lnTo>
                    <a:lnTo>
                      <a:pt x="1456" y="214"/>
                    </a:lnTo>
                    <a:lnTo>
                      <a:pt x="1448" y="198"/>
                    </a:lnTo>
                    <a:lnTo>
                      <a:pt x="1440" y="182"/>
                    </a:lnTo>
                    <a:lnTo>
                      <a:pt x="1430" y="168"/>
                    </a:lnTo>
                    <a:lnTo>
                      <a:pt x="1416" y="156"/>
                    </a:lnTo>
                    <a:lnTo>
                      <a:pt x="1402" y="148"/>
                    </a:lnTo>
                    <a:lnTo>
                      <a:pt x="1366" y="138"/>
                    </a:lnTo>
                    <a:lnTo>
                      <a:pt x="1356" y="136"/>
                    </a:lnTo>
                    <a:lnTo>
                      <a:pt x="1344" y="136"/>
                    </a:lnTo>
                    <a:lnTo>
                      <a:pt x="1332" y="140"/>
                    </a:lnTo>
                    <a:lnTo>
                      <a:pt x="1320" y="142"/>
                    </a:lnTo>
                    <a:lnTo>
                      <a:pt x="1316" y="144"/>
                    </a:lnTo>
                    <a:lnTo>
                      <a:pt x="1266" y="168"/>
                    </a:lnTo>
                    <a:lnTo>
                      <a:pt x="1246" y="178"/>
                    </a:lnTo>
                    <a:lnTo>
                      <a:pt x="1236" y="184"/>
                    </a:lnTo>
                    <a:lnTo>
                      <a:pt x="1226" y="192"/>
                    </a:lnTo>
                    <a:lnTo>
                      <a:pt x="1218" y="202"/>
                    </a:lnTo>
                    <a:lnTo>
                      <a:pt x="1214" y="210"/>
                    </a:lnTo>
                    <a:lnTo>
                      <a:pt x="1196" y="254"/>
                    </a:lnTo>
                    <a:lnTo>
                      <a:pt x="1188" y="274"/>
                    </a:lnTo>
                    <a:lnTo>
                      <a:pt x="1180" y="294"/>
                    </a:lnTo>
                    <a:lnTo>
                      <a:pt x="1176" y="298"/>
                    </a:lnTo>
                    <a:lnTo>
                      <a:pt x="1174" y="300"/>
                    </a:lnTo>
                    <a:lnTo>
                      <a:pt x="1168" y="302"/>
                    </a:lnTo>
                    <a:lnTo>
                      <a:pt x="1166" y="306"/>
                    </a:lnTo>
                    <a:lnTo>
                      <a:pt x="1164" y="316"/>
                    </a:lnTo>
                    <a:lnTo>
                      <a:pt x="1160" y="330"/>
                    </a:lnTo>
                    <a:lnTo>
                      <a:pt x="1156" y="340"/>
                    </a:lnTo>
                    <a:lnTo>
                      <a:pt x="1156" y="348"/>
                    </a:lnTo>
                    <a:lnTo>
                      <a:pt x="1156" y="358"/>
                    </a:lnTo>
                    <a:lnTo>
                      <a:pt x="1160" y="368"/>
                    </a:lnTo>
                    <a:lnTo>
                      <a:pt x="1164" y="382"/>
                    </a:lnTo>
                    <a:lnTo>
                      <a:pt x="1166" y="392"/>
                    </a:lnTo>
                    <a:lnTo>
                      <a:pt x="1168" y="392"/>
                    </a:lnTo>
                    <a:lnTo>
                      <a:pt x="1170" y="394"/>
                    </a:lnTo>
                    <a:lnTo>
                      <a:pt x="1180" y="392"/>
                    </a:lnTo>
                    <a:lnTo>
                      <a:pt x="1186" y="390"/>
                    </a:lnTo>
                    <a:lnTo>
                      <a:pt x="1190" y="396"/>
                    </a:lnTo>
                    <a:lnTo>
                      <a:pt x="1192" y="402"/>
                    </a:lnTo>
                    <a:lnTo>
                      <a:pt x="1194" y="412"/>
                    </a:lnTo>
                    <a:lnTo>
                      <a:pt x="1194" y="440"/>
                    </a:lnTo>
                    <a:lnTo>
                      <a:pt x="1192" y="452"/>
                    </a:lnTo>
                    <a:lnTo>
                      <a:pt x="1190" y="464"/>
                    </a:lnTo>
                    <a:lnTo>
                      <a:pt x="1186" y="476"/>
                    </a:lnTo>
                    <a:lnTo>
                      <a:pt x="1180" y="486"/>
                    </a:lnTo>
                    <a:lnTo>
                      <a:pt x="1152" y="522"/>
                    </a:lnTo>
                    <a:lnTo>
                      <a:pt x="1136" y="540"/>
                    </a:lnTo>
                    <a:lnTo>
                      <a:pt x="1114" y="556"/>
                    </a:lnTo>
                    <a:lnTo>
                      <a:pt x="1106" y="562"/>
                    </a:lnTo>
                    <a:lnTo>
                      <a:pt x="1082" y="576"/>
                    </a:lnTo>
                    <a:lnTo>
                      <a:pt x="1056" y="586"/>
                    </a:lnTo>
                    <a:lnTo>
                      <a:pt x="970" y="616"/>
                    </a:lnTo>
                    <a:lnTo>
                      <a:pt x="958" y="618"/>
                    </a:lnTo>
                    <a:lnTo>
                      <a:pt x="944" y="620"/>
                    </a:lnTo>
                    <a:lnTo>
                      <a:pt x="930" y="618"/>
                    </a:lnTo>
                    <a:lnTo>
                      <a:pt x="918" y="614"/>
                    </a:lnTo>
                    <a:lnTo>
                      <a:pt x="844" y="578"/>
                    </a:lnTo>
                    <a:lnTo>
                      <a:pt x="794" y="554"/>
                    </a:lnTo>
                    <a:lnTo>
                      <a:pt x="732" y="528"/>
                    </a:lnTo>
                    <a:lnTo>
                      <a:pt x="708" y="518"/>
                    </a:lnTo>
                    <a:lnTo>
                      <a:pt x="680" y="510"/>
                    </a:lnTo>
                    <a:lnTo>
                      <a:pt x="632" y="498"/>
                    </a:lnTo>
                    <a:lnTo>
                      <a:pt x="622" y="494"/>
                    </a:lnTo>
                    <a:lnTo>
                      <a:pt x="612" y="488"/>
                    </a:lnTo>
                    <a:lnTo>
                      <a:pt x="604" y="478"/>
                    </a:lnTo>
                    <a:lnTo>
                      <a:pt x="598" y="468"/>
                    </a:lnTo>
                    <a:lnTo>
                      <a:pt x="586" y="450"/>
                    </a:lnTo>
                    <a:lnTo>
                      <a:pt x="578" y="440"/>
                    </a:lnTo>
                    <a:lnTo>
                      <a:pt x="574" y="434"/>
                    </a:lnTo>
                    <a:lnTo>
                      <a:pt x="572" y="426"/>
                    </a:lnTo>
                    <a:lnTo>
                      <a:pt x="570" y="406"/>
                    </a:lnTo>
                    <a:lnTo>
                      <a:pt x="570" y="340"/>
                    </a:lnTo>
                    <a:lnTo>
                      <a:pt x="572" y="328"/>
                    </a:lnTo>
                    <a:lnTo>
                      <a:pt x="574" y="314"/>
                    </a:lnTo>
                    <a:lnTo>
                      <a:pt x="578" y="300"/>
                    </a:lnTo>
                    <a:lnTo>
                      <a:pt x="584" y="288"/>
                    </a:lnTo>
                    <a:lnTo>
                      <a:pt x="588" y="278"/>
                    </a:lnTo>
                    <a:lnTo>
                      <a:pt x="594" y="264"/>
                    </a:lnTo>
                    <a:lnTo>
                      <a:pt x="596" y="252"/>
                    </a:lnTo>
                    <a:lnTo>
                      <a:pt x="596" y="240"/>
                    </a:lnTo>
                    <a:lnTo>
                      <a:pt x="596" y="210"/>
                    </a:lnTo>
                    <a:lnTo>
                      <a:pt x="596" y="206"/>
                    </a:lnTo>
                    <a:lnTo>
                      <a:pt x="594" y="204"/>
                    </a:lnTo>
                    <a:lnTo>
                      <a:pt x="584" y="196"/>
                    </a:lnTo>
                    <a:lnTo>
                      <a:pt x="578" y="192"/>
                    </a:lnTo>
                    <a:lnTo>
                      <a:pt x="572" y="184"/>
                    </a:lnTo>
                    <a:lnTo>
                      <a:pt x="568" y="176"/>
                    </a:lnTo>
                    <a:lnTo>
                      <a:pt x="566" y="164"/>
                    </a:lnTo>
                    <a:lnTo>
                      <a:pt x="560" y="146"/>
                    </a:lnTo>
                    <a:lnTo>
                      <a:pt x="548" y="94"/>
                    </a:lnTo>
                    <a:lnTo>
                      <a:pt x="540" y="72"/>
                    </a:lnTo>
                    <a:lnTo>
                      <a:pt x="528" y="52"/>
                    </a:lnTo>
                    <a:lnTo>
                      <a:pt x="516" y="38"/>
                    </a:lnTo>
                    <a:lnTo>
                      <a:pt x="510" y="34"/>
                    </a:lnTo>
                    <a:lnTo>
                      <a:pt x="506" y="34"/>
                    </a:lnTo>
                    <a:lnTo>
                      <a:pt x="498" y="32"/>
                    </a:lnTo>
                    <a:lnTo>
                      <a:pt x="486" y="28"/>
                    </a:lnTo>
                    <a:lnTo>
                      <a:pt x="476" y="24"/>
                    </a:lnTo>
                    <a:lnTo>
                      <a:pt x="466" y="22"/>
                    </a:lnTo>
                    <a:lnTo>
                      <a:pt x="454" y="20"/>
                    </a:lnTo>
                    <a:lnTo>
                      <a:pt x="438" y="10"/>
                    </a:lnTo>
                    <a:lnTo>
                      <a:pt x="428" y="6"/>
                    </a:lnTo>
                    <a:lnTo>
                      <a:pt x="416" y="2"/>
                    </a:lnTo>
                    <a:lnTo>
                      <a:pt x="404" y="0"/>
                    </a:lnTo>
                    <a:lnTo>
                      <a:pt x="390" y="0"/>
                    </a:lnTo>
                    <a:lnTo>
                      <a:pt x="388" y="0"/>
                    </a:lnTo>
                    <a:lnTo>
                      <a:pt x="348" y="0"/>
                    </a:lnTo>
                    <a:lnTo>
                      <a:pt x="332" y="2"/>
                    </a:lnTo>
                    <a:lnTo>
                      <a:pt x="314" y="10"/>
                    </a:lnTo>
                    <a:lnTo>
                      <a:pt x="292" y="24"/>
                    </a:lnTo>
                    <a:lnTo>
                      <a:pt x="272" y="40"/>
                    </a:lnTo>
                    <a:lnTo>
                      <a:pt x="252" y="58"/>
                    </a:lnTo>
                    <a:lnTo>
                      <a:pt x="238" y="76"/>
                    </a:lnTo>
                    <a:lnTo>
                      <a:pt x="228" y="94"/>
                    </a:lnTo>
                    <a:lnTo>
                      <a:pt x="226" y="100"/>
                    </a:lnTo>
                    <a:lnTo>
                      <a:pt x="224" y="106"/>
                    </a:lnTo>
                    <a:lnTo>
                      <a:pt x="222" y="120"/>
                    </a:lnTo>
                    <a:lnTo>
                      <a:pt x="216" y="136"/>
                    </a:lnTo>
                    <a:lnTo>
                      <a:pt x="214" y="146"/>
                    </a:lnTo>
                    <a:lnTo>
                      <a:pt x="212" y="158"/>
                    </a:lnTo>
                    <a:lnTo>
                      <a:pt x="212" y="170"/>
                    </a:lnTo>
                    <a:lnTo>
                      <a:pt x="214" y="182"/>
                    </a:lnTo>
                    <a:lnTo>
                      <a:pt x="220" y="224"/>
                    </a:lnTo>
                    <a:lnTo>
                      <a:pt x="224" y="250"/>
                    </a:lnTo>
                    <a:lnTo>
                      <a:pt x="224" y="276"/>
                    </a:lnTo>
                    <a:lnTo>
                      <a:pt x="226" y="298"/>
                    </a:lnTo>
                    <a:lnTo>
                      <a:pt x="230" y="318"/>
                    </a:lnTo>
                    <a:lnTo>
                      <a:pt x="240" y="334"/>
                    </a:lnTo>
                    <a:lnTo>
                      <a:pt x="250" y="348"/>
                    </a:lnTo>
                    <a:lnTo>
                      <a:pt x="262" y="362"/>
                    </a:lnTo>
                    <a:lnTo>
                      <a:pt x="272" y="378"/>
                    </a:lnTo>
                    <a:lnTo>
                      <a:pt x="282" y="398"/>
                    </a:lnTo>
                    <a:lnTo>
                      <a:pt x="298" y="418"/>
                    </a:lnTo>
                    <a:lnTo>
                      <a:pt x="304" y="424"/>
                    </a:lnTo>
                    <a:lnTo>
                      <a:pt x="310" y="434"/>
                    </a:lnTo>
                    <a:lnTo>
                      <a:pt x="316" y="446"/>
                    </a:lnTo>
                    <a:lnTo>
                      <a:pt x="320" y="460"/>
                    </a:lnTo>
                    <a:lnTo>
                      <a:pt x="322" y="472"/>
                    </a:lnTo>
                    <a:lnTo>
                      <a:pt x="322" y="502"/>
                    </a:lnTo>
                    <a:lnTo>
                      <a:pt x="320" y="526"/>
                    </a:lnTo>
                    <a:lnTo>
                      <a:pt x="318" y="538"/>
                    </a:lnTo>
                    <a:lnTo>
                      <a:pt x="314" y="548"/>
                    </a:lnTo>
                    <a:lnTo>
                      <a:pt x="308" y="556"/>
                    </a:lnTo>
                    <a:lnTo>
                      <a:pt x="300" y="564"/>
                    </a:lnTo>
                    <a:lnTo>
                      <a:pt x="292" y="570"/>
                    </a:lnTo>
                    <a:lnTo>
                      <a:pt x="280" y="576"/>
                    </a:lnTo>
                    <a:lnTo>
                      <a:pt x="220" y="602"/>
                    </a:lnTo>
                    <a:lnTo>
                      <a:pt x="200" y="610"/>
                    </a:lnTo>
                    <a:lnTo>
                      <a:pt x="190" y="614"/>
                    </a:lnTo>
                    <a:lnTo>
                      <a:pt x="178" y="618"/>
                    </a:lnTo>
                    <a:lnTo>
                      <a:pt x="160" y="628"/>
                    </a:lnTo>
                    <a:lnTo>
                      <a:pt x="150" y="634"/>
                    </a:lnTo>
                    <a:lnTo>
                      <a:pt x="128" y="652"/>
                    </a:lnTo>
                    <a:lnTo>
                      <a:pt x="110" y="670"/>
                    </a:lnTo>
                    <a:lnTo>
                      <a:pt x="104" y="678"/>
                    </a:lnTo>
                    <a:lnTo>
                      <a:pt x="86" y="696"/>
                    </a:lnTo>
                    <a:lnTo>
                      <a:pt x="70" y="710"/>
                    </a:lnTo>
                    <a:lnTo>
                      <a:pt x="66" y="716"/>
                    </a:lnTo>
                    <a:lnTo>
                      <a:pt x="60" y="724"/>
                    </a:lnTo>
                    <a:lnTo>
                      <a:pt x="58" y="732"/>
                    </a:lnTo>
                    <a:lnTo>
                      <a:pt x="56" y="740"/>
                    </a:lnTo>
                    <a:lnTo>
                      <a:pt x="56" y="786"/>
                    </a:lnTo>
                    <a:lnTo>
                      <a:pt x="56" y="802"/>
                    </a:lnTo>
                    <a:lnTo>
                      <a:pt x="58" y="858"/>
                    </a:lnTo>
                    <a:lnTo>
                      <a:pt x="70" y="958"/>
                    </a:lnTo>
                    <a:lnTo>
                      <a:pt x="70" y="986"/>
                    </a:lnTo>
                    <a:lnTo>
                      <a:pt x="68" y="1014"/>
                    </a:lnTo>
                    <a:lnTo>
                      <a:pt x="48" y="1116"/>
                    </a:lnTo>
                    <a:lnTo>
                      <a:pt x="38" y="1170"/>
                    </a:lnTo>
                    <a:lnTo>
                      <a:pt x="6" y="1344"/>
                    </a:lnTo>
                    <a:lnTo>
                      <a:pt x="2" y="1370"/>
                    </a:lnTo>
                    <a:lnTo>
                      <a:pt x="0" y="1396"/>
                    </a:lnTo>
                    <a:lnTo>
                      <a:pt x="0" y="1444"/>
                    </a:lnTo>
                    <a:lnTo>
                      <a:pt x="2" y="1470"/>
                    </a:lnTo>
                    <a:lnTo>
                      <a:pt x="8" y="1494"/>
                    </a:lnTo>
                    <a:lnTo>
                      <a:pt x="16" y="1518"/>
                    </a:lnTo>
                    <a:lnTo>
                      <a:pt x="28" y="1542"/>
                    </a:lnTo>
                    <a:lnTo>
                      <a:pt x="30" y="1542"/>
                    </a:lnTo>
                    <a:lnTo>
                      <a:pt x="60" y="1588"/>
                    </a:lnTo>
                    <a:lnTo>
                      <a:pt x="70" y="1602"/>
                    </a:lnTo>
                    <a:lnTo>
                      <a:pt x="76" y="1614"/>
                    </a:lnTo>
                    <a:lnTo>
                      <a:pt x="82" y="1626"/>
                    </a:lnTo>
                    <a:lnTo>
                      <a:pt x="88" y="1640"/>
                    </a:lnTo>
                    <a:lnTo>
                      <a:pt x="90" y="1652"/>
                    </a:lnTo>
                    <a:lnTo>
                      <a:pt x="92" y="1660"/>
                    </a:lnTo>
                    <a:lnTo>
                      <a:pt x="96" y="1688"/>
                    </a:lnTo>
                    <a:lnTo>
                      <a:pt x="98" y="1714"/>
                    </a:lnTo>
                    <a:lnTo>
                      <a:pt x="98" y="1804"/>
                    </a:lnTo>
                    <a:lnTo>
                      <a:pt x="100" y="1830"/>
                    </a:lnTo>
                    <a:lnTo>
                      <a:pt x="104" y="1858"/>
                    </a:lnTo>
                    <a:lnTo>
                      <a:pt x="120" y="1924"/>
                    </a:lnTo>
                    <a:lnTo>
                      <a:pt x="132" y="1978"/>
                    </a:lnTo>
                    <a:lnTo>
                      <a:pt x="136" y="1996"/>
                    </a:lnTo>
                    <a:lnTo>
                      <a:pt x="138" y="2022"/>
                    </a:lnTo>
                    <a:lnTo>
                      <a:pt x="140" y="2050"/>
                    </a:lnTo>
                    <a:lnTo>
                      <a:pt x="140" y="2056"/>
                    </a:lnTo>
                    <a:lnTo>
                      <a:pt x="140" y="2102"/>
                    </a:lnTo>
                    <a:lnTo>
                      <a:pt x="142" y="2124"/>
                    </a:lnTo>
                    <a:lnTo>
                      <a:pt x="144" y="2148"/>
                    </a:lnTo>
                    <a:lnTo>
                      <a:pt x="164" y="2262"/>
                    </a:lnTo>
                    <a:lnTo>
                      <a:pt x="172" y="2318"/>
                    </a:lnTo>
                    <a:lnTo>
                      <a:pt x="180" y="2418"/>
                    </a:lnTo>
                    <a:lnTo>
                      <a:pt x="184" y="2472"/>
                    </a:lnTo>
                    <a:lnTo>
                      <a:pt x="194" y="2660"/>
                    </a:lnTo>
                    <a:lnTo>
                      <a:pt x="198" y="2686"/>
                    </a:lnTo>
                    <a:lnTo>
                      <a:pt x="206" y="2712"/>
                    </a:lnTo>
                    <a:lnTo>
                      <a:pt x="254" y="2842"/>
                    </a:lnTo>
                    <a:lnTo>
                      <a:pt x="256" y="2854"/>
                    </a:lnTo>
                    <a:lnTo>
                      <a:pt x="258" y="2868"/>
                    </a:lnTo>
                    <a:lnTo>
                      <a:pt x="256" y="2880"/>
                    </a:lnTo>
                    <a:lnTo>
                      <a:pt x="254" y="2892"/>
                    </a:lnTo>
                    <a:lnTo>
                      <a:pt x="234" y="2938"/>
                    </a:lnTo>
                    <a:lnTo>
                      <a:pt x="222" y="2962"/>
                    </a:lnTo>
                    <a:lnTo>
                      <a:pt x="206" y="2984"/>
                    </a:lnTo>
                    <a:lnTo>
                      <a:pt x="200" y="2990"/>
                    </a:lnTo>
                    <a:lnTo>
                      <a:pt x="194" y="3000"/>
                    </a:lnTo>
                    <a:lnTo>
                      <a:pt x="188" y="3014"/>
                    </a:lnTo>
                    <a:lnTo>
                      <a:pt x="184" y="3026"/>
                    </a:lnTo>
                    <a:lnTo>
                      <a:pt x="182" y="3038"/>
                    </a:lnTo>
                    <a:lnTo>
                      <a:pt x="182" y="3094"/>
                    </a:lnTo>
                    <a:lnTo>
                      <a:pt x="184" y="3104"/>
                    </a:lnTo>
                    <a:lnTo>
                      <a:pt x="190" y="3114"/>
                    </a:lnTo>
                    <a:lnTo>
                      <a:pt x="200" y="3120"/>
                    </a:lnTo>
                    <a:lnTo>
                      <a:pt x="210" y="3124"/>
                    </a:lnTo>
                    <a:lnTo>
                      <a:pt x="252" y="3128"/>
                    </a:lnTo>
                    <a:lnTo>
                      <a:pt x="264" y="3128"/>
                    </a:lnTo>
                    <a:lnTo>
                      <a:pt x="278" y="3126"/>
                    </a:lnTo>
                    <a:lnTo>
                      <a:pt x="290" y="3120"/>
                    </a:lnTo>
                    <a:lnTo>
                      <a:pt x="300" y="3114"/>
                    </a:lnTo>
                    <a:lnTo>
                      <a:pt x="314" y="3102"/>
                    </a:lnTo>
                    <a:lnTo>
                      <a:pt x="348" y="3072"/>
                    </a:lnTo>
                    <a:lnTo>
                      <a:pt x="360" y="3060"/>
                    </a:lnTo>
                    <a:lnTo>
                      <a:pt x="368" y="3048"/>
                    </a:lnTo>
                    <a:lnTo>
                      <a:pt x="372" y="3042"/>
                    </a:lnTo>
                    <a:lnTo>
                      <a:pt x="374" y="3034"/>
                    </a:lnTo>
                    <a:lnTo>
                      <a:pt x="376" y="3018"/>
                    </a:lnTo>
                    <a:lnTo>
                      <a:pt x="378" y="3000"/>
                    </a:lnTo>
                    <a:lnTo>
                      <a:pt x="384" y="2982"/>
                    </a:lnTo>
                    <a:lnTo>
                      <a:pt x="390" y="2968"/>
                    </a:lnTo>
                    <a:lnTo>
                      <a:pt x="394" y="2964"/>
                    </a:lnTo>
                    <a:lnTo>
                      <a:pt x="396" y="2964"/>
                    </a:lnTo>
                    <a:lnTo>
                      <a:pt x="406" y="2958"/>
                    </a:lnTo>
                    <a:lnTo>
                      <a:pt x="424" y="2946"/>
                    </a:lnTo>
                    <a:lnTo>
                      <a:pt x="424" y="2944"/>
                    </a:lnTo>
                    <a:lnTo>
                      <a:pt x="432" y="2936"/>
                    </a:lnTo>
                    <a:lnTo>
                      <a:pt x="440" y="2926"/>
                    </a:lnTo>
                    <a:lnTo>
                      <a:pt x="448" y="2914"/>
                    </a:lnTo>
                    <a:lnTo>
                      <a:pt x="452" y="2902"/>
                    </a:lnTo>
                    <a:lnTo>
                      <a:pt x="454" y="2892"/>
                    </a:lnTo>
                    <a:lnTo>
                      <a:pt x="452" y="2878"/>
                    </a:lnTo>
                    <a:lnTo>
                      <a:pt x="450" y="2866"/>
                    </a:lnTo>
                    <a:lnTo>
                      <a:pt x="446" y="2854"/>
                    </a:lnTo>
                    <a:lnTo>
                      <a:pt x="442" y="2844"/>
                    </a:lnTo>
                    <a:lnTo>
                      <a:pt x="438" y="2832"/>
                    </a:lnTo>
                    <a:lnTo>
                      <a:pt x="434" y="2818"/>
                    </a:lnTo>
                    <a:lnTo>
                      <a:pt x="432" y="2804"/>
                    </a:lnTo>
                    <a:lnTo>
                      <a:pt x="432" y="2792"/>
                    </a:lnTo>
                    <a:lnTo>
                      <a:pt x="432" y="2762"/>
                    </a:lnTo>
                    <a:lnTo>
                      <a:pt x="432" y="2708"/>
                    </a:lnTo>
                    <a:lnTo>
                      <a:pt x="432" y="2700"/>
                    </a:lnTo>
                    <a:lnTo>
                      <a:pt x="430" y="2674"/>
                    </a:lnTo>
                    <a:lnTo>
                      <a:pt x="424" y="2646"/>
                    </a:lnTo>
                    <a:lnTo>
                      <a:pt x="410" y="2592"/>
                    </a:lnTo>
                    <a:lnTo>
                      <a:pt x="404" y="2566"/>
                    </a:lnTo>
                    <a:lnTo>
                      <a:pt x="402" y="2538"/>
                    </a:lnTo>
                    <a:lnTo>
                      <a:pt x="402" y="2472"/>
                    </a:lnTo>
                    <a:lnTo>
                      <a:pt x="400" y="2418"/>
                    </a:lnTo>
                    <a:lnTo>
                      <a:pt x="392" y="2304"/>
                    </a:lnTo>
                    <a:lnTo>
                      <a:pt x="392" y="2276"/>
                    </a:lnTo>
                    <a:lnTo>
                      <a:pt x="396" y="2250"/>
                    </a:lnTo>
                    <a:lnTo>
                      <a:pt x="412" y="2160"/>
                    </a:lnTo>
                    <a:lnTo>
                      <a:pt x="416" y="2132"/>
                    </a:lnTo>
                    <a:lnTo>
                      <a:pt x="418" y="2104"/>
                    </a:lnTo>
                    <a:lnTo>
                      <a:pt x="418" y="2038"/>
                    </a:lnTo>
                    <a:lnTo>
                      <a:pt x="418" y="1984"/>
                    </a:lnTo>
                    <a:lnTo>
                      <a:pt x="418" y="1980"/>
                    </a:lnTo>
                    <a:lnTo>
                      <a:pt x="420" y="1956"/>
                    </a:lnTo>
                    <a:lnTo>
                      <a:pt x="422" y="1946"/>
                    </a:lnTo>
                    <a:lnTo>
                      <a:pt x="426" y="1938"/>
                    </a:lnTo>
                    <a:lnTo>
                      <a:pt x="428" y="1936"/>
                    </a:lnTo>
                    <a:lnTo>
                      <a:pt x="432" y="1934"/>
                    </a:lnTo>
                    <a:lnTo>
                      <a:pt x="436" y="1936"/>
                    </a:lnTo>
                    <a:lnTo>
                      <a:pt x="438" y="1938"/>
                    </a:lnTo>
                    <a:lnTo>
                      <a:pt x="446" y="1956"/>
                    </a:lnTo>
                    <a:lnTo>
                      <a:pt x="454" y="1978"/>
                    </a:lnTo>
                    <a:lnTo>
                      <a:pt x="492" y="2094"/>
                    </a:lnTo>
                    <a:lnTo>
                      <a:pt x="506" y="2144"/>
                    </a:lnTo>
                    <a:lnTo>
                      <a:pt x="512" y="2166"/>
                    </a:lnTo>
                    <a:lnTo>
                      <a:pt x="514" y="2186"/>
                    </a:lnTo>
                    <a:lnTo>
                      <a:pt x="514" y="2216"/>
                    </a:lnTo>
                    <a:lnTo>
                      <a:pt x="514" y="2256"/>
                    </a:lnTo>
                    <a:lnTo>
                      <a:pt x="514" y="2564"/>
                    </a:lnTo>
                    <a:lnTo>
                      <a:pt x="514" y="2618"/>
                    </a:lnTo>
                    <a:lnTo>
                      <a:pt x="514" y="2730"/>
                    </a:lnTo>
                    <a:lnTo>
                      <a:pt x="514" y="2758"/>
                    </a:lnTo>
                    <a:lnTo>
                      <a:pt x="518" y="2784"/>
                    </a:lnTo>
                    <a:lnTo>
                      <a:pt x="538" y="2924"/>
                    </a:lnTo>
                    <a:lnTo>
                      <a:pt x="546" y="2978"/>
                    </a:lnTo>
                    <a:lnTo>
                      <a:pt x="550" y="3010"/>
                    </a:lnTo>
                    <a:lnTo>
                      <a:pt x="556" y="3032"/>
                    </a:lnTo>
                    <a:lnTo>
                      <a:pt x="562" y="3048"/>
                    </a:lnTo>
                    <a:lnTo>
                      <a:pt x="578" y="3072"/>
                    </a:lnTo>
                    <a:lnTo>
                      <a:pt x="580" y="3076"/>
                    </a:lnTo>
                    <a:lnTo>
                      <a:pt x="580" y="3082"/>
                    </a:lnTo>
                    <a:lnTo>
                      <a:pt x="580" y="3086"/>
                    </a:lnTo>
                    <a:lnTo>
                      <a:pt x="578" y="3090"/>
                    </a:lnTo>
                    <a:lnTo>
                      <a:pt x="574" y="3094"/>
                    </a:lnTo>
                    <a:lnTo>
                      <a:pt x="572" y="3100"/>
                    </a:lnTo>
                    <a:lnTo>
                      <a:pt x="570" y="3114"/>
                    </a:lnTo>
                    <a:lnTo>
                      <a:pt x="570" y="3144"/>
                    </a:lnTo>
                    <a:lnTo>
                      <a:pt x="570" y="3168"/>
                    </a:lnTo>
                    <a:lnTo>
                      <a:pt x="572" y="3174"/>
                    </a:lnTo>
                    <a:lnTo>
                      <a:pt x="576" y="3182"/>
                    </a:lnTo>
                    <a:lnTo>
                      <a:pt x="588" y="3202"/>
                    </a:lnTo>
                    <a:lnTo>
                      <a:pt x="592" y="3206"/>
                    </a:lnTo>
                    <a:lnTo>
                      <a:pt x="600" y="3214"/>
                    </a:lnTo>
                    <a:lnTo>
                      <a:pt x="610" y="3222"/>
                    </a:lnTo>
                    <a:lnTo>
                      <a:pt x="618" y="3226"/>
                    </a:lnTo>
                    <a:lnTo>
                      <a:pt x="624" y="3228"/>
                    </a:lnTo>
                    <a:lnTo>
                      <a:pt x="630" y="3230"/>
                    </a:lnTo>
                    <a:lnTo>
                      <a:pt x="634" y="3236"/>
                    </a:lnTo>
                    <a:lnTo>
                      <a:pt x="638" y="3244"/>
                    </a:lnTo>
                    <a:lnTo>
                      <a:pt x="638" y="3256"/>
                    </a:lnTo>
                    <a:lnTo>
                      <a:pt x="638" y="3262"/>
                    </a:lnTo>
                    <a:lnTo>
                      <a:pt x="638" y="3308"/>
                    </a:lnTo>
                    <a:lnTo>
                      <a:pt x="640" y="3324"/>
                    </a:lnTo>
                    <a:lnTo>
                      <a:pt x="646" y="3338"/>
                    </a:lnTo>
                    <a:lnTo>
                      <a:pt x="666" y="3368"/>
                    </a:lnTo>
                    <a:lnTo>
                      <a:pt x="682" y="3386"/>
                    </a:lnTo>
                    <a:lnTo>
                      <a:pt x="702" y="3404"/>
                    </a:lnTo>
                    <a:lnTo>
                      <a:pt x="716" y="3416"/>
                    </a:lnTo>
                    <a:lnTo>
                      <a:pt x="742" y="3440"/>
                    </a:lnTo>
                    <a:lnTo>
                      <a:pt x="748" y="3442"/>
                    </a:lnTo>
                    <a:lnTo>
                      <a:pt x="756" y="3442"/>
                    </a:lnTo>
                    <a:lnTo>
                      <a:pt x="776" y="3442"/>
                    </a:lnTo>
                    <a:lnTo>
                      <a:pt x="848" y="3436"/>
                    </a:lnTo>
                    <a:lnTo>
                      <a:pt x="858" y="3434"/>
                    </a:lnTo>
                    <a:lnTo>
                      <a:pt x="868" y="3426"/>
                    </a:lnTo>
                    <a:lnTo>
                      <a:pt x="874" y="3418"/>
                    </a:lnTo>
                    <a:lnTo>
                      <a:pt x="876" y="3406"/>
                    </a:lnTo>
                    <a:lnTo>
                      <a:pt x="876" y="3354"/>
                    </a:lnTo>
                    <a:lnTo>
                      <a:pt x="874" y="3342"/>
                    </a:lnTo>
                    <a:lnTo>
                      <a:pt x="872" y="3328"/>
                    </a:lnTo>
                    <a:lnTo>
                      <a:pt x="866" y="3318"/>
                    </a:lnTo>
                    <a:lnTo>
                      <a:pt x="862" y="3308"/>
                    </a:lnTo>
                    <a:lnTo>
                      <a:pt x="848" y="3288"/>
                    </a:lnTo>
                    <a:lnTo>
                      <a:pt x="836" y="3264"/>
                    </a:lnTo>
                    <a:lnTo>
                      <a:pt x="802" y="3194"/>
                    </a:lnTo>
                    <a:lnTo>
                      <a:pt x="792" y="3170"/>
                    </a:lnTo>
                    <a:lnTo>
                      <a:pt x="784" y="3144"/>
                    </a:lnTo>
                    <a:lnTo>
                      <a:pt x="782" y="3134"/>
                    </a:lnTo>
                    <a:lnTo>
                      <a:pt x="782" y="3120"/>
                    </a:lnTo>
                    <a:lnTo>
                      <a:pt x="782" y="3106"/>
                    </a:lnTo>
                    <a:lnTo>
                      <a:pt x="782" y="3094"/>
                    </a:lnTo>
                    <a:lnTo>
                      <a:pt x="788" y="3064"/>
                    </a:lnTo>
                    <a:lnTo>
                      <a:pt x="790" y="3036"/>
                    </a:lnTo>
                    <a:lnTo>
                      <a:pt x="792" y="3010"/>
                    </a:lnTo>
                    <a:lnTo>
                      <a:pt x="792" y="2932"/>
                    </a:lnTo>
                    <a:lnTo>
                      <a:pt x="792" y="2904"/>
                    </a:lnTo>
                    <a:lnTo>
                      <a:pt x="796" y="2876"/>
                    </a:lnTo>
                    <a:lnTo>
                      <a:pt x="816" y="2750"/>
                    </a:lnTo>
                    <a:lnTo>
                      <a:pt x="818" y="2724"/>
                    </a:lnTo>
                    <a:lnTo>
                      <a:pt x="816" y="2696"/>
                    </a:lnTo>
                    <a:lnTo>
                      <a:pt x="796" y="2594"/>
                    </a:lnTo>
                    <a:lnTo>
                      <a:pt x="792" y="2566"/>
                    </a:lnTo>
                    <a:lnTo>
                      <a:pt x="792" y="2538"/>
                    </a:lnTo>
                    <a:lnTo>
                      <a:pt x="792" y="2462"/>
                    </a:lnTo>
                    <a:lnTo>
                      <a:pt x="790" y="2406"/>
                    </a:lnTo>
                    <a:lnTo>
                      <a:pt x="780" y="2280"/>
                    </a:lnTo>
                    <a:lnTo>
                      <a:pt x="780" y="2254"/>
                    </a:lnTo>
                    <a:lnTo>
                      <a:pt x="782" y="2226"/>
                    </a:lnTo>
                    <a:lnTo>
                      <a:pt x="788" y="2196"/>
                    </a:lnTo>
                    <a:lnTo>
                      <a:pt x="794" y="2142"/>
                    </a:lnTo>
                    <a:lnTo>
                      <a:pt x="800" y="2086"/>
                    </a:lnTo>
                    <a:lnTo>
                      <a:pt x="804" y="2060"/>
                    </a:lnTo>
                    <a:lnTo>
                      <a:pt x="804" y="2032"/>
                    </a:lnTo>
                    <a:lnTo>
                      <a:pt x="804" y="1894"/>
                    </a:lnTo>
                    <a:lnTo>
                      <a:pt x="804" y="1868"/>
                    </a:lnTo>
                    <a:lnTo>
                      <a:pt x="800" y="1840"/>
                    </a:lnTo>
                    <a:lnTo>
                      <a:pt x="794" y="1784"/>
                    </a:lnTo>
                    <a:lnTo>
                      <a:pt x="790" y="1758"/>
                    </a:lnTo>
                    <a:lnTo>
                      <a:pt x="782" y="1732"/>
                    </a:lnTo>
                    <a:lnTo>
                      <a:pt x="772" y="1700"/>
                    </a:lnTo>
                    <a:lnTo>
                      <a:pt x="764" y="1678"/>
                    </a:lnTo>
                    <a:lnTo>
                      <a:pt x="762" y="1662"/>
                    </a:lnTo>
                    <a:lnTo>
                      <a:pt x="764" y="1656"/>
                    </a:lnTo>
                    <a:lnTo>
                      <a:pt x="766" y="1650"/>
                    </a:lnTo>
                    <a:lnTo>
                      <a:pt x="772" y="1644"/>
                    </a:lnTo>
                    <a:lnTo>
                      <a:pt x="776" y="1638"/>
                    </a:lnTo>
                    <a:lnTo>
                      <a:pt x="784" y="1634"/>
                    </a:lnTo>
                    <a:lnTo>
                      <a:pt x="792" y="1630"/>
                    </a:lnTo>
                    <a:lnTo>
                      <a:pt x="800" y="1630"/>
                    </a:lnTo>
                    <a:lnTo>
                      <a:pt x="806" y="1632"/>
                    </a:lnTo>
                    <a:lnTo>
                      <a:pt x="812" y="1634"/>
                    </a:lnTo>
                    <a:lnTo>
                      <a:pt x="818" y="1634"/>
                    </a:lnTo>
                    <a:lnTo>
                      <a:pt x="822" y="1630"/>
                    </a:lnTo>
                    <a:lnTo>
                      <a:pt x="826" y="1626"/>
                    </a:lnTo>
                    <a:lnTo>
                      <a:pt x="836" y="1614"/>
                    </a:lnTo>
                    <a:lnTo>
                      <a:pt x="846" y="1602"/>
                    </a:lnTo>
                    <a:lnTo>
                      <a:pt x="852" y="1598"/>
                    </a:lnTo>
                    <a:lnTo>
                      <a:pt x="860" y="1600"/>
                    </a:lnTo>
                    <a:lnTo>
                      <a:pt x="868" y="1604"/>
                    </a:lnTo>
                    <a:lnTo>
                      <a:pt x="874" y="1612"/>
                    </a:lnTo>
                    <a:lnTo>
                      <a:pt x="902" y="1650"/>
                    </a:lnTo>
                    <a:lnTo>
                      <a:pt x="914" y="1666"/>
                    </a:lnTo>
                    <a:lnTo>
                      <a:pt x="920" y="1672"/>
                    </a:lnTo>
                    <a:lnTo>
                      <a:pt x="924" y="1674"/>
                    </a:lnTo>
                    <a:lnTo>
                      <a:pt x="926" y="1674"/>
                    </a:lnTo>
                    <a:lnTo>
                      <a:pt x="930" y="1678"/>
                    </a:lnTo>
                    <a:lnTo>
                      <a:pt x="936" y="1692"/>
                    </a:lnTo>
                    <a:lnTo>
                      <a:pt x="942" y="1712"/>
                    </a:lnTo>
                    <a:lnTo>
                      <a:pt x="944" y="1738"/>
                    </a:lnTo>
                    <a:lnTo>
                      <a:pt x="944" y="1744"/>
                    </a:lnTo>
                    <a:lnTo>
                      <a:pt x="944" y="1798"/>
                    </a:lnTo>
                    <a:lnTo>
                      <a:pt x="944" y="2068"/>
                    </a:lnTo>
                    <a:lnTo>
                      <a:pt x="940" y="2096"/>
                    </a:lnTo>
                    <a:lnTo>
                      <a:pt x="936" y="2122"/>
                    </a:lnTo>
                    <a:lnTo>
                      <a:pt x="926" y="2154"/>
                    </a:lnTo>
                    <a:lnTo>
                      <a:pt x="918" y="2180"/>
                    </a:lnTo>
                    <a:lnTo>
                      <a:pt x="912" y="2208"/>
                    </a:lnTo>
                    <a:lnTo>
                      <a:pt x="906" y="2238"/>
                    </a:lnTo>
                    <a:lnTo>
                      <a:pt x="902" y="2264"/>
                    </a:lnTo>
                    <a:lnTo>
                      <a:pt x="902" y="2292"/>
                    </a:lnTo>
                    <a:lnTo>
                      <a:pt x="902" y="2358"/>
                    </a:lnTo>
                    <a:lnTo>
                      <a:pt x="898" y="2386"/>
                    </a:lnTo>
                    <a:lnTo>
                      <a:pt x="892" y="2412"/>
                    </a:lnTo>
                    <a:lnTo>
                      <a:pt x="868" y="2480"/>
                    </a:lnTo>
                    <a:lnTo>
                      <a:pt x="862" y="2506"/>
                    </a:lnTo>
                    <a:lnTo>
                      <a:pt x="856" y="2534"/>
                    </a:lnTo>
                    <a:lnTo>
                      <a:pt x="850" y="2576"/>
                    </a:lnTo>
                    <a:lnTo>
                      <a:pt x="844" y="2630"/>
                    </a:lnTo>
                    <a:lnTo>
                      <a:pt x="836" y="2720"/>
                    </a:lnTo>
                    <a:lnTo>
                      <a:pt x="836" y="2732"/>
                    </a:lnTo>
                    <a:lnTo>
                      <a:pt x="838" y="2744"/>
                    </a:lnTo>
                    <a:lnTo>
                      <a:pt x="842" y="2756"/>
                    </a:lnTo>
                    <a:lnTo>
                      <a:pt x="846" y="2764"/>
                    </a:lnTo>
                    <a:lnTo>
                      <a:pt x="850" y="2774"/>
                    </a:lnTo>
                    <a:lnTo>
                      <a:pt x="852" y="2782"/>
                    </a:lnTo>
                    <a:lnTo>
                      <a:pt x="850" y="2792"/>
                    </a:lnTo>
                    <a:lnTo>
                      <a:pt x="846" y="2802"/>
                    </a:lnTo>
                    <a:lnTo>
                      <a:pt x="842" y="2810"/>
                    </a:lnTo>
                    <a:lnTo>
                      <a:pt x="842" y="2820"/>
                    </a:lnTo>
                    <a:lnTo>
                      <a:pt x="846" y="2830"/>
                    </a:lnTo>
                    <a:lnTo>
                      <a:pt x="852" y="2840"/>
                    </a:lnTo>
                    <a:lnTo>
                      <a:pt x="858" y="2846"/>
                    </a:lnTo>
                    <a:lnTo>
                      <a:pt x="864" y="2856"/>
                    </a:lnTo>
                    <a:lnTo>
                      <a:pt x="870" y="2870"/>
                    </a:lnTo>
                    <a:lnTo>
                      <a:pt x="874" y="2882"/>
                    </a:lnTo>
                    <a:lnTo>
                      <a:pt x="876" y="2894"/>
                    </a:lnTo>
                    <a:lnTo>
                      <a:pt x="876" y="3020"/>
                    </a:lnTo>
                    <a:lnTo>
                      <a:pt x="876" y="3054"/>
                    </a:lnTo>
                    <a:lnTo>
                      <a:pt x="878" y="3062"/>
                    </a:lnTo>
                    <a:lnTo>
                      <a:pt x="882" y="3072"/>
                    </a:lnTo>
                    <a:lnTo>
                      <a:pt x="892" y="3086"/>
                    </a:lnTo>
                    <a:lnTo>
                      <a:pt x="910" y="3102"/>
                    </a:lnTo>
                    <a:lnTo>
                      <a:pt x="920" y="3110"/>
                    </a:lnTo>
                    <a:lnTo>
                      <a:pt x="928" y="3116"/>
                    </a:lnTo>
                    <a:lnTo>
                      <a:pt x="936" y="3120"/>
                    </a:lnTo>
                    <a:lnTo>
                      <a:pt x="944" y="3120"/>
                    </a:lnTo>
                    <a:lnTo>
                      <a:pt x="978" y="3120"/>
                    </a:lnTo>
                    <a:lnTo>
                      <a:pt x="1014" y="3120"/>
                    </a:lnTo>
                    <a:lnTo>
                      <a:pt x="1028" y="3120"/>
                    </a:lnTo>
                    <a:lnTo>
                      <a:pt x="1040" y="3116"/>
                    </a:lnTo>
                    <a:lnTo>
                      <a:pt x="1046" y="3110"/>
                    </a:lnTo>
                    <a:lnTo>
                      <a:pt x="1052" y="3104"/>
                    </a:lnTo>
                    <a:lnTo>
                      <a:pt x="1058" y="3094"/>
                    </a:lnTo>
                    <a:lnTo>
                      <a:pt x="1062" y="3084"/>
                    </a:lnTo>
                    <a:lnTo>
                      <a:pt x="1068" y="3060"/>
                    </a:lnTo>
                    <a:lnTo>
                      <a:pt x="1070" y="3036"/>
                    </a:lnTo>
                    <a:lnTo>
                      <a:pt x="1068" y="3024"/>
                    </a:lnTo>
                    <a:lnTo>
                      <a:pt x="1066" y="3012"/>
                    </a:lnTo>
                    <a:lnTo>
                      <a:pt x="1062" y="2998"/>
                    </a:lnTo>
                    <a:lnTo>
                      <a:pt x="1058" y="2986"/>
                    </a:lnTo>
                    <a:lnTo>
                      <a:pt x="1052" y="2976"/>
                    </a:lnTo>
                    <a:lnTo>
                      <a:pt x="1028" y="2926"/>
                    </a:lnTo>
                    <a:lnTo>
                      <a:pt x="1024" y="2914"/>
                    </a:lnTo>
                    <a:lnTo>
                      <a:pt x="1020" y="2904"/>
                    </a:lnTo>
                    <a:lnTo>
                      <a:pt x="1020" y="2890"/>
                    </a:lnTo>
                    <a:lnTo>
                      <a:pt x="1022" y="2878"/>
                    </a:lnTo>
                    <a:lnTo>
                      <a:pt x="1028" y="2868"/>
                    </a:lnTo>
                    <a:lnTo>
                      <a:pt x="1038" y="2854"/>
                    </a:lnTo>
                    <a:lnTo>
                      <a:pt x="1044" y="2842"/>
                    </a:lnTo>
                    <a:lnTo>
                      <a:pt x="1050" y="2830"/>
                    </a:lnTo>
                    <a:lnTo>
                      <a:pt x="1052" y="2818"/>
                    </a:lnTo>
                    <a:lnTo>
                      <a:pt x="1054" y="2806"/>
                    </a:lnTo>
                    <a:lnTo>
                      <a:pt x="1054" y="2796"/>
                    </a:lnTo>
                    <a:lnTo>
                      <a:pt x="1058" y="2782"/>
                    </a:lnTo>
                    <a:lnTo>
                      <a:pt x="1062" y="2770"/>
                    </a:lnTo>
                    <a:lnTo>
                      <a:pt x="1066" y="2758"/>
                    </a:lnTo>
                    <a:lnTo>
                      <a:pt x="1084" y="2724"/>
                    </a:lnTo>
                    <a:lnTo>
                      <a:pt x="1094" y="2698"/>
                    </a:lnTo>
                    <a:lnTo>
                      <a:pt x="1102" y="2672"/>
                    </a:lnTo>
                    <a:lnTo>
                      <a:pt x="1144" y="2520"/>
                    </a:lnTo>
                    <a:lnTo>
                      <a:pt x="1156" y="2466"/>
                    </a:lnTo>
                    <a:lnTo>
                      <a:pt x="1188" y="2266"/>
                    </a:lnTo>
                    <a:lnTo>
                      <a:pt x="1200" y="2214"/>
                    </a:lnTo>
                    <a:lnTo>
                      <a:pt x="1228" y="2110"/>
                    </a:lnTo>
                    <a:lnTo>
                      <a:pt x="1240" y="2058"/>
                    </a:lnTo>
                    <a:lnTo>
                      <a:pt x="1256" y="1990"/>
                    </a:lnTo>
                    <a:lnTo>
                      <a:pt x="1258" y="1980"/>
                    </a:lnTo>
                    <a:lnTo>
                      <a:pt x="1262" y="1974"/>
                    </a:lnTo>
                    <a:lnTo>
                      <a:pt x="1266" y="1972"/>
                    </a:lnTo>
                    <a:lnTo>
                      <a:pt x="1268" y="1976"/>
                    </a:lnTo>
                    <a:lnTo>
                      <a:pt x="1272" y="1982"/>
                    </a:lnTo>
                    <a:lnTo>
                      <a:pt x="1274" y="1992"/>
                    </a:lnTo>
                    <a:lnTo>
                      <a:pt x="1276" y="2016"/>
                    </a:lnTo>
                    <a:lnTo>
                      <a:pt x="1276" y="2080"/>
                    </a:lnTo>
                    <a:lnTo>
                      <a:pt x="1278" y="2106"/>
                    </a:lnTo>
                    <a:lnTo>
                      <a:pt x="1282" y="2134"/>
                    </a:lnTo>
                    <a:lnTo>
                      <a:pt x="1284" y="2142"/>
                    </a:lnTo>
                    <a:lnTo>
                      <a:pt x="1286" y="2154"/>
                    </a:lnTo>
                    <a:lnTo>
                      <a:pt x="1286" y="2168"/>
                    </a:lnTo>
                    <a:lnTo>
                      <a:pt x="1282" y="2182"/>
                    </a:lnTo>
                    <a:lnTo>
                      <a:pt x="1278" y="2194"/>
                    </a:lnTo>
                    <a:lnTo>
                      <a:pt x="1274" y="2204"/>
                    </a:lnTo>
                    <a:lnTo>
                      <a:pt x="1268" y="2216"/>
                    </a:lnTo>
                    <a:lnTo>
                      <a:pt x="1264" y="2228"/>
                    </a:lnTo>
                    <a:lnTo>
                      <a:pt x="1262" y="2242"/>
                    </a:lnTo>
                    <a:lnTo>
                      <a:pt x="1262" y="2256"/>
                    </a:lnTo>
                    <a:lnTo>
                      <a:pt x="1262" y="2262"/>
                    </a:lnTo>
                    <a:lnTo>
                      <a:pt x="1262" y="2318"/>
                    </a:lnTo>
                    <a:lnTo>
                      <a:pt x="1262" y="2358"/>
                    </a:lnTo>
                    <a:lnTo>
                      <a:pt x="1258" y="2414"/>
                    </a:lnTo>
                    <a:lnTo>
                      <a:pt x="1252" y="2480"/>
                    </a:lnTo>
                    <a:lnTo>
                      <a:pt x="1246" y="2534"/>
                    </a:lnTo>
                    <a:lnTo>
                      <a:pt x="1238" y="2598"/>
                    </a:lnTo>
                    <a:lnTo>
                      <a:pt x="1234" y="2620"/>
                    </a:lnTo>
                    <a:lnTo>
                      <a:pt x="1228" y="2638"/>
                    </a:lnTo>
                    <a:lnTo>
                      <a:pt x="1222" y="2654"/>
                    </a:lnTo>
                    <a:lnTo>
                      <a:pt x="1214" y="2678"/>
                    </a:lnTo>
                    <a:lnTo>
                      <a:pt x="1212" y="2682"/>
                    </a:lnTo>
                    <a:lnTo>
                      <a:pt x="1212" y="2696"/>
                    </a:lnTo>
                    <a:lnTo>
                      <a:pt x="1212" y="2708"/>
                    </a:lnTo>
                    <a:lnTo>
                      <a:pt x="1216" y="2722"/>
                    </a:lnTo>
                    <a:lnTo>
                      <a:pt x="1220" y="2734"/>
                    </a:lnTo>
                    <a:lnTo>
                      <a:pt x="1226" y="2746"/>
                    </a:lnTo>
                    <a:lnTo>
                      <a:pt x="1230" y="2758"/>
                    </a:lnTo>
                    <a:lnTo>
                      <a:pt x="1234" y="2772"/>
                    </a:lnTo>
                    <a:lnTo>
                      <a:pt x="1234" y="2786"/>
                    </a:lnTo>
                    <a:lnTo>
                      <a:pt x="1234" y="2816"/>
                    </a:lnTo>
                    <a:lnTo>
                      <a:pt x="1236" y="2826"/>
                    </a:lnTo>
                    <a:lnTo>
                      <a:pt x="1242" y="2838"/>
                    </a:lnTo>
                    <a:lnTo>
                      <a:pt x="1250" y="2848"/>
                    </a:lnTo>
                    <a:lnTo>
                      <a:pt x="1260" y="2854"/>
                    </a:lnTo>
                    <a:lnTo>
                      <a:pt x="1266" y="2856"/>
                    </a:lnTo>
                    <a:lnTo>
                      <a:pt x="1284" y="2864"/>
                    </a:lnTo>
                    <a:lnTo>
                      <a:pt x="1296" y="2868"/>
                    </a:lnTo>
                    <a:lnTo>
                      <a:pt x="1300" y="2870"/>
                    </a:lnTo>
                    <a:lnTo>
                      <a:pt x="1306" y="2874"/>
                    </a:lnTo>
                    <a:lnTo>
                      <a:pt x="1318" y="2890"/>
                    </a:lnTo>
                    <a:lnTo>
                      <a:pt x="1330" y="2904"/>
                    </a:lnTo>
                    <a:lnTo>
                      <a:pt x="1344" y="2924"/>
                    </a:lnTo>
                    <a:lnTo>
                      <a:pt x="1360" y="2940"/>
                    </a:lnTo>
                    <a:lnTo>
                      <a:pt x="1374" y="2950"/>
                    </a:lnTo>
                    <a:lnTo>
                      <a:pt x="1388" y="2958"/>
                    </a:lnTo>
                    <a:lnTo>
                      <a:pt x="1414" y="2970"/>
                    </a:lnTo>
                    <a:lnTo>
                      <a:pt x="1456" y="2982"/>
                    </a:lnTo>
                    <a:lnTo>
                      <a:pt x="1458" y="2982"/>
                    </a:lnTo>
                    <a:lnTo>
                      <a:pt x="1470" y="2984"/>
                    </a:lnTo>
                    <a:lnTo>
                      <a:pt x="1484" y="2984"/>
                    </a:lnTo>
                    <a:lnTo>
                      <a:pt x="1498" y="2982"/>
                    </a:lnTo>
                    <a:lnTo>
                      <a:pt x="1510" y="2980"/>
                    </a:lnTo>
                    <a:lnTo>
                      <a:pt x="1526" y="2972"/>
                    </a:lnTo>
                    <a:lnTo>
                      <a:pt x="1538" y="2968"/>
                    </a:lnTo>
                    <a:lnTo>
                      <a:pt x="1548" y="2960"/>
                    </a:lnTo>
                    <a:lnTo>
                      <a:pt x="1556" y="2952"/>
                    </a:lnTo>
                    <a:lnTo>
                      <a:pt x="1560" y="2946"/>
                    </a:lnTo>
                    <a:lnTo>
                      <a:pt x="1562" y="2936"/>
                    </a:lnTo>
                    <a:lnTo>
                      <a:pt x="1560" y="2926"/>
                    </a:lnTo>
                    <a:lnTo>
                      <a:pt x="1556" y="2918"/>
                    </a:lnTo>
                    <a:lnTo>
                      <a:pt x="1548" y="2908"/>
                    </a:lnTo>
                    <a:lnTo>
                      <a:pt x="1534" y="2896"/>
                    </a:lnTo>
                    <a:lnTo>
                      <a:pt x="1494" y="2860"/>
                    </a:lnTo>
                    <a:lnTo>
                      <a:pt x="1474" y="2840"/>
                    </a:lnTo>
                    <a:lnTo>
                      <a:pt x="1458" y="2818"/>
                    </a:lnTo>
                    <a:lnTo>
                      <a:pt x="1442" y="2796"/>
                    </a:lnTo>
                    <a:lnTo>
                      <a:pt x="1438" y="2784"/>
                    </a:lnTo>
                    <a:lnTo>
                      <a:pt x="1434" y="2770"/>
                    </a:lnTo>
                    <a:lnTo>
                      <a:pt x="1430" y="2756"/>
                    </a:lnTo>
                    <a:lnTo>
                      <a:pt x="1430" y="2744"/>
                    </a:lnTo>
                    <a:lnTo>
                      <a:pt x="1430" y="2738"/>
                    </a:lnTo>
                    <a:lnTo>
                      <a:pt x="1432" y="2726"/>
                    </a:lnTo>
                    <a:lnTo>
                      <a:pt x="1436" y="2714"/>
                    </a:lnTo>
                    <a:lnTo>
                      <a:pt x="1442" y="2704"/>
                    </a:lnTo>
                    <a:lnTo>
                      <a:pt x="1450" y="2698"/>
                    </a:lnTo>
                    <a:lnTo>
                      <a:pt x="1458" y="2692"/>
                    </a:lnTo>
                    <a:lnTo>
                      <a:pt x="1466" y="2684"/>
                    </a:lnTo>
                    <a:lnTo>
                      <a:pt x="1470" y="2676"/>
                    </a:lnTo>
                    <a:lnTo>
                      <a:pt x="1472" y="2668"/>
                    </a:lnTo>
                    <a:lnTo>
                      <a:pt x="1474" y="2624"/>
                    </a:lnTo>
                    <a:lnTo>
                      <a:pt x="1480" y="2568"/>
                    </a:lnTo>
                    <a:lnTo>
                      <a:pt x="1486" y="2542"/>
                    </a:lnTo>
                    <a:lnTo>
                      <a:pt x="1492" y="2514"/>
                    </a:lnTo>
                    <a:lnTo>
                      <a:pt x="1506" y="2472"/>
                    </a:lnTo>
                    <a:lnTo>
                      <a:pt x="1512" y="2444"/>
                    </a:lnTo>
                    <a:lnTo>
                      <a:pt x="1516" y="2418"/>
                    </a:lnTo>
                    <a:lnTo>
                      <a:pt x="1524" y="2328"/>
                    </a:lnTo>
                    <a:lnTo>
                      <a:pt x="1528" y="2302"/>
                    </a:lnTo>
                    <a:lnTo>
                      <a:pt x="1536" y="2274"/>
                    </a:lnTo>
                    <a:lnTo>
                      <a:pt x="1572" y="2158"/>
                    </a:lnTo>
                    <a:lnTo>
                      <a:pt x="1588" y="2106"/>
                    </a:lnTo>
                    <a:lnTo>
                      <a:pt x="1616" y="1978"/>
                    </a:lnTo>
                    <a:lnTo>
                      <a:pt x="1630" y="1924"/>
                    </a:lnTo>
                    <a:lnTo>
                      <a:pt x="1660" y="1810"/>
                    </a:lnTo>
                    <a:lnTo>
                      <a:pt x="1664" y="1784"/>
                    </a:lnTo>
                    <a:lnTo>
                      <a:pt x="1666" y="1758"/>
                    </a:lnTo>
                    <a:lnTo>
                      <a:pt x="1668" y="1748"/>
                    </a:lnTo>
                    <a:lnTo>
                      <a:pt x="1672" y="1736"/>
                    </a:lnTo>
                    <a:lnTo>
                      <a:pt x="1678" y="1724"/>
                    </a:lnTo>
                    <a:lnTo>
                      <a:pt x="1684" y="1716"/>
                    </a:lnTo>
                    <a:lnTo>
                      <a:pt x="1728" y="1670"/>
                    </a:lnTo>
                    <a:lnTo>
                      <a:pt x="1734" y="1660"/>
                    </a:lnTo>
                    <a:lnTo>
                      <a:pt x="1740" y="1648"/>
                    </a:lnTo>
                    <a:lnTo>
                      <a:pt x="1744" y="1636"/>
                    </a:lnTo>
                    <a:lnTo>
                      <a:pt x="1746" y="1624"/>
                    </a:lnTo>
                    <a:lnTo>
                      <a:pt x="1746" y="1582"/>
                    </a:lnTo>
                    <a:lnTo>
                      <a:pt x="1746" y="1528"/>
                    </a:lnTo>
                    <a:lnTo>
                      <a:pt x="1746" y="1446"/>
                    </a:lnTo>
                    <a:close/>
                    <a:moveTo>
                      <a:pt x="190" y="614"/>
                    </a:moveTo>
                    <a:lnTo>
                      <a:pt x="190" y="614"/>
                    </a:lnTo>
                    <a:lnTo>
                      <a:pt x="186" y="614"/>
                    </a:lnTo>
                    <a:lnTo>
                      <a:pt x="190" y="614"/>
                    </a:lnTo>
                    <a:lnTo>
                      <a:pt x="192" y="614"/>
                    </a:lnTo>
                    <a:lnTo>
                      <a:pt x="190" y="6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170" name="TextBox 39"/>
            <p:cNvSpPr txBox="1">
              <a:spLocks noChangeArrowheads="1"/>
            </p:cNvSpPr>
            <p:nvPr/>
          </p:nvSpPr>
          <p:spPr bwMode="auto">
            <a:xfrm>
              <a:off x="356308" y="3198682"/>
              <a:ext cx="1779233" cy="1434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>
                <a:defRPr/>
              </a:pPr>
              <a:r>
                <a:rPr lang="en-GB" sz="1050" b="1" dirty="0" smtClean="0">
                  <a:solidFill>
                    <a:srgbClr val="FFFFFF"/>
                  </a:solidFill>
                  <a:latin typeface="Arial" charset="0"/>
                </a:rPr>
                <a:t>Supplier power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Please replace with own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. </a:t>
              </a:r>
            </a:p>
            <a:p>
              <a:pPr algn="ctr">
                <a:defRPr/>
              </a:pPr>
              <a:endParaRPr lang="nb-NO" sz="1050" dirty="0" smtClean="0">
                <a:solidFill>
                  <a:srgbClr val="353637"/>
                </a:solidFill>
                <a:latin typeface="Arial" charset="0"/>
              </a:endParaRPr>
            </a:p>
            <a:p>
              <a:pPr algn="ctr">
                <a:defRPr/>
              </a:pPr>
              <a:endParaRPr lang="nb-NO" sz="1600" dirty="0" smtClean="0">
                <a:latin typeface="Arial" charset="0"/>
              </a:endParaRPr>
            </a:p>
          </p:txBody>
        </p:sp>
      </p:grpSp>
      <p:sp>
        <p:nvSpPr>
          <p:cNvPr id="18437" name="Rounded Rectangle 44"/>
          <p:cNvSpPr>
            <a:spLocks noChangeArrowheads="1"/>
          </p:cNvSpPr>
          <p:nvPr/>
        </p:nvSpPr>
        <p:spPr bwMode="auto">
          <a:xfrm rot="16200000" flipH="1">
            <a:off x="6210301" y="3433762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18438" name="Rounded Rectangle 38"/>
          <p:cNvSpPr>
            <a:spLocks noChangeArrowheads="1"/>
          </p:cNvSpPr>
          <p:nvPr/>
        </p:nvSpPr>
        <p:spPr bwMode="auto">
          <a:xfrm rot="16200000" flipH="1">
            <a:off x="6210301" y="2154237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4" name="Round Same Side Corner Rectangle 83"/>
          <p:cNvSpPr/>
          <p:nvPr/>
        </p:nvSpPr>
        <p:spPr>
          <a:xfrm>
            <a:off x="5183188" y="319246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85" name="Round Same Side Corner Rectangle 84"/>
          <p:cNvSpPr/>
          <p:nvPr/>
        </p:nvSpPr>
        <p:spPr>
          <a:xfrm>
            <a:off x="5183188" y="4473575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8441" name="Rounded Rectangle 27"/>
          <p:cNvSpPr>
            <a:spLocks noChangeArrowheads="1"/>
          </p:cNvSpPr>
          <p:nvPr/>
        </p:nvSpPr>
        <p:spPr bwMode="auto">
          <a:xfrm rot="16200000" flipH="1">
            <a:off x="6210301" y="866775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7" name="Round Same Side Corner Rectangle 86"/>
          <p:cNvSpPr/>
          <p:nvPr/>
        </p:nvSpPr>
        <p:spPr>
          <a:xfrm>
            <a:off x="5183188" y="187801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8443" name="Rektangel 76"/>
          <p:cNvSpPr>
            <a:spLocks noChangeArrowheads="1"/>
          </p:cNvSpPr>
          <p:nvPr/>
        </p:nvSpPr>
        <p:spPr bwMode="auto">
          <a:xfrm>
            <a:off x="5316538" y="190658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8444" name="Rektangel 76"/>
          <p:cNvSpPr>
            <a:spLocks noChangeArrowheads="1"/>
          </p:cNvSpPr>
          <p:nvPr/>
        </p:nvSpPr>
        <p:spPr bwMode="auto">
          <a:xfrm>
            <a:off x="5316538" y="3209925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8445" name="Rektangel 76"/>
          <p:cNvSpPr>
            <a:spLocks noChangeArrowheads="1"/>
          </p:cNvSpPr>
          <p:nvPr/>
        </p:nvSpPr>
        <p:spPr bwMode="auto">
          <a:xfrm>
            <a:off x="5316538" y="449103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8446" name="Tekstboks 72"/>
          <p:cNvSpPr txBox="1">
            <a:spLocks noChangeArrowheads="1"/>
          </p:cNvSpPr>
          <p:nvPr/>
        </p:nvSpPr>
        <p:spPr bwMode="auto">
          <a:xfrm>
            <a:off x="6086475" y="2374900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18447" name="Tekstboks 72"/>
          <p:cNvSpPr txBox="1">
            <a:spLocks noChangeArrowheads="1"/>
          </p:cNvSpPr>
          <p:nvPr/>
        </p:nvSpPr>
        <p:spPr bwMode="auto">
          <a:xfrm>
            <a:off x="6086475" y="3660775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18448" name="Tekstboks 72"/>
          <p:cNvSpPr txBox="1">
            <a:spLocks noChangeArrowheads="1"/>
          </p:cNvSpPr>
          <p:nvPr/>
        </p:nvSpPr>
        <p:spPr bwMode="auto">
          <a:xfrm>
            <a:off x="6086475" y="4941888"/>
            <a:ext cx="21240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grpSp>
        <p:nvGrpSpPr>
          <p:cNvPr id="18449" name="Group 44"/>
          <p:cNvGrpSpPr>
            <a:grpSpLocks/>
          </p:cNvGrpSpPr>
          <p:nvPr/>
        </p:nvGrpSpPr>
        <p:grpSpPr bwMode="auto">
          <a:xfrm>
            <a:off x="5327650" y="2362200"/>
            <a:ext cx="403225" cy="403225"/>
            <a:chOff x="3294062" y="1631156"/>
            <a:chExt cx="460375" cy="460375"/>
          </a:xfrm>
        </p:grpSpPr>
        <p:sp>
          <p:nvSpPr>
            <p:cNvPr id="95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8457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1</a:t>
              </a:r>
            </a:p>
          </p:txBody>
        </p:sp>
      </p:grpSp>
      <p:grpSp>
        <p:nvGrpSpPr>
          <p:cNvPr id="18450" name="Group 44"/>
          <p:cNvGrpSpPr>
            <a:grpSpLocks/>
          </p:cNvGrpSpPr>
          <p:nvPr/>
        </p:nvGrpSpPr>
        <p:grpSpPr bwMode="auto">
          <a:xfrm>
            <a:off x="5327650" y="3660775"/>
            <a:ext cx="403225" cy="403225"/>
            <a:chOff x="3294062" y="1631156"/>
            <a:chExt cx="460375" cy="460375"/>
          </a:xfrm>
        </p:grpSpPr>
        <p:sp>
          <p:nvSpPr>
            <p:cNvPr id="98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8455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2</a:t>
              </a:r>
            </a:p>
          </p:txBody>
        </p:sp>
      </p:grpSp>
      <p:grpSp>
        <p:nvGrpSpPr>
          <p:cNvPr id="18451" name="Group 44"/>
          <p:cNvGrpSpPr>
            <a:grpSpLocks/>
          </p:cNvGrpSpPr>
          <p:nvPr/>
        </p:nvGrpSpPr>
        <p:grpSpPr bwMode="auto">
          <a:xfrm>
            <a:off x="5327650" y="4941888"/>
            <a:ext cx="403225" cy="403225"/>
            <a:chOff x="3294062" y="1631156"/>
            <a:chExt cx="460375" cy="460375"/>
          </a:xfrm>
        </p:grpSpPr>
        <p:sp>
          <p:nvSpPr>
            <p:cNvPr id="101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8453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3</a:t>
              </a:r>
            </a:p>
          </p:txBody>
        </p: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</a:t>
            </a:r>
            <a:r>
              <a:rPr lang="en-US" dirty="0" smtClean="0"/>
              <a:t>5 </a:t>
            </a:r>
            <a:r>
              <a:rPr lang="en-US" dirty="0"/>
              <a:t>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6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7469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60" name="Group 48"/>
          <p:cNvGrpSpPr>
            <a:grpSpLocks/>
          </p:cNvGrpSpPr>
          <p:nvPr/>
        </p:nvGrpSpPr>
        <p:grpSpPr bwMode="auto">
          <a:xfrm>
            <a:off x="4799013" y="2079625"/>
            <a:ext cx="4041775" cy="3251200"/>
            <a:chOff x="2878138" y="1716473"/>
            <a:chExt cx="4322762" cy="3476240"/>
          </a:xfrm>
        </p:grpSpPr>
        <p:sp>
          <p:nvSpPr>
            <p:cNvPr id="19482" name="Tekstboks 6"/>
            <p:cNvSpPr txBox="1">
              <a:spLocks noChangeArrowheads="1"/>
            </p:cNvSpPr>
            <p:nvPr/>
          </p:nvSpPr>
          <p:spPr bwMode="auto">
            <a:xfrm>
              <a:off x="3521075" y="3287713"/>
              <a:ext cx="21336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 eaLnBrk="1" hangingPunct="1"/>
              <a:r>
                <a:rPr lang="da-DK" sz="1400" b="1">
                  <a:solidFill>
                    <a:srgbClr val="227088"/>
                  </a:solidFill>
                </a:rPr>
                <a:t>RIVALRY</a:t>
              </a:r>
            </a:p>
          </p:txBody>
        </p:sp>
        <p:sp>
          <p:nvSpPr>
            <p:cNvPr id="51" name="Donut 7"/>
            <p:cNvSpPr>
              <a:spLocks/>
            </p:cNvSpPr>
            <p:nvPr/>
          </p:nvSpPr>
          <p:spPr bwMode="auto">
            <a:xfrm rot="2700000">
              <a:off x="3246954" y="2120070"/>
              <a:ext cx="2678470" cy="2679230"/>
            </a:xfrm>
            <a:custGeom>
              <a:avLst/>
              <a:gdLst>
                <a:gd name="T0" fmla="*/ 0 w 2678113"/>
                <a:gd name="T1" fmla="*/ 1339850 h 2679700"/>
                <a:gd name="T2" fmla="*/ 1339057 w 2678113"/>
                <a:gd name="T3" fmla="*/ 0 h 2679700"/>
                <a:gd name="T4" fmla="*/ 2678114 w 2678113"/>
                <a:gd name="T5" fmla="*/ 1339850 h 2679700"/>
                <a:gd name="T6" fmla="*/ 1339057 w 2678113"/>
                <a:gd name="T7" fmla="*/ 2679700 h 2679700"/>
                <a:gd name="T8" fmla="*/ 0 w 2678113"/>
                <a:gd name="T9" fmla="*/ 1339850 h 2679700"/>
                <a:gd name="T10" fmla="*/ 322123 w 2678113"/>
                <a:gd name="T11" fmla="*/ 1339850 h 2679700"/>
                <a:gd name="T12" fmla="*/ 1339056 w 2678113"/>
                <a:gd name="T13" fmla="*/ 2357577 h 2679700"/>
                <a:gd name="T14" fmla="*/ 2355989 w 2678113"/>
                <a:gd name="T15" fmla="*/ 1339850 h 2679700"/>
                <a:gd name="T16" fmla="*/ 1339056 w 2678113"/>
                <a:gd name="T17" fmla="*/ 322123 h 2679700"/>
                <a:gd name="T18" fmla="*/ 322123 w 2678113"/>
                <a:gd name="T19" fmla="*/ 1339850 h 2679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78113" h="2679700">
                  <a:moveTo>
                    <a:pt x="0" y="1339850"/>
                  </a:moveTo>
                  <a:cubicBezTo>
                    <a:pt x="0" y="599871"/>
                    <a:pt x="599516" y="0"/>
                    <a:pt x="1339057" y="0"/>
                  </a:cubicBezTo>
                  <a:cubicBezTo>
                    <a:pt x="2078598" y="0"/>
                    <a:pt x="2678114" y="599871"/>
                    <a:pt x="2678114" y="1339850"/>
                  </a:cubicBezTo>
                  <a:cubicBezTo>
                    <a:pt x="2678114" y="2079829"/>
                    <a:pt x="2078598" y="2679700"/>
                    <a:pt x="1339057" y="2679700"/>
                  </a:cubicBezTo>
                  <a:cubicBezTo>
                    <a:pt x="599516" y="2679700"/>
                    <a:pt x="0" y="2079829"/>
                    <a:pt x="0" y="1339850"/>
                  </a:cubicBezTo>
                  <a:close/>
                  <a:moveTo>
                    <a:pt x="322123" y="1339850"/>
                  </a:moveTo>
                  <a:cubicBezTo>
                    <a:pt x="322123" y="1901925"/>
                    <a:pt x="777419" y="2357577"/>
                    <a:pt x="1339056" y="2357577"/>
                  </a:cubicBezTo>
                  <a:cubicBezTo>
                    <a:pt x="1900693" y="2357577"/>
                    <a:pt x="2355989" y="1901925"/>
                    <a:pt x="2355989" y="1339850"/>
                  </a:cubicBezTo>
                  <a:cubicBezTo>
                    <a:pt x="2355989" y="777775"/>
                    <a:pt x="1900693" y="322123"/>
                    <a:pt x="1339056" y="322123"/>
                  </a:cubicBezTo>
                  <a:cubicBezTo>
                    <a:pt x="777419" y="322123"/>
                    <a:pt x="322123" y="777775"/>
                    <a:pt x="322123" y="1339850"/>
                  </a:cubicBez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19484" name="Group 67"/>
            <p:cNvGrpSpPr>
              <a:grpSpLocks/>
            </p:cNvGrpSpPr>
            <p:nvPr/>
          </p:nvGrpSpPr>
          <p:grpSpPr bwMode="auto">
            <a:xfrm>
              <a:off x="2878138" y="2911478"/>
              <a:ext cx="1122362" cy="1098550"/>
              <a:chOff x="2590806" y="2443937"/>
              <a:chExt cx="1362074" cy="1334317"/>
            </a:xfrm>
          </p:grpSpPr>
          <p:grpSp>
            <p:nvGrpSpPr>
              <p:cNvPr id="19513" name="Gruppe 83"/>
              <p:cNvGrpSpPr>
                <a:grpSpLocks/>
              </p:cNvGrpSpPr>
              <p:nvPr/>
            </p:nvGrpSpPr>
            <p:grpSpPr bwMode="auto">
              <a:xfrm rot="5400000">
                <a:off x="2604684" y="2430059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77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86000">
                      <a:srgbClr val="2A9B18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78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79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74" name="L-Shape 73"/>
              <p:cNvSpPr/>
              <p:nvPr/>
            </p:nvSpPr>
            <p:spPr>
              <a:xfrm>
                <a:off x="3048235" y="3052073"/>
                <a:ext cx="469792" cy="377285"/>
              </a:xfrm>
              <a:prstGeom prst="corner">
                <a:avLst>
                  <a:gd name="adj1" fmla="val 74088"/>
                  <a:gd name="adj2" fmla="val 340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75" name="Cloud 74"/>
              <p:cNvSpPr/>
              <p:nvPr/>
            </p:nvSpPr>
            <p:spPr>
              <a:xfrm rot="2580872">
                <a:off x="3103867" y="2660356"/>
                <a:ext cx="222533" cy="406148"/>
              </a:xfrm>
              <a:prstGeom prst="cloud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53" name="Tåre 105"/>
            <p:cNvSpPr/>
            <p:nvPr/>
          </p:nvSpPr>
          <p:spPr bwMode="auto">
            <a:xfrm rot="8100000">
              <a:off x="4036958" y="1716473"/>
              <a:ext cx="1098326" cy="1103903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54" name="Tåre 106"/>
            <p:cNvSpPr/>
            <p:nvPr/>
          </p:nvSpPr>
          <p:spPr bwMode="auto">
            <a:xfrm rot="8100000">
              <a:off x="4106230" y="1874214"/>
              <a:ext cx="958565" cy="963432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55" name="Måne 107"/>
            <p:cNvSpPr/>
            <p:nvPr/>
          </p:nvSpPr>
          <p:spPr bwMode="auto">
            <a:xfrm rot="5245033">
              <a:off x="4394713" y="1452651"/>
              <a:ext cx="382819" cy="949338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19494" name="Gruppe 46"/>
            <p:cNvGrpSpPr>
              <a:grpSpLocks/>
            </p:cNvGrpSpPr>
            <p:nvPr/>
          </p:nvGrpSpPr>
          <p:grpSpPr bwMode="auto">
            <a:xfrm>
              <a:off x="4260850" y="2017713"/>
              <a:ext cx="747713" cy="555625"/>
              <a:chOff x="4821610" y="587829"/>
              <a:chExt cx="2393544" cy="1781593"/>
            </a:xfrm>
          </p:grpSpPr>
          <p:sp>
            <p:nvSpPr>
              <p:cNvPr id="19509" name="Freeform 528"/>
              <p:cNvSpPr>
                <a:spLocks/>
              </p:cNvSpPr>
              <p:nvPr/>
            </p:nvSpPr>
            <p:spPr bwMode="auto">
              <a:xfrm>
                <a:off x="4821610" y="587829"/>
                <a:ext cx="2393544" cy="1781593"/>
              </a:xfrm>
              <a:custGeom>
                <a:avLst/>
                <a:gdLst>
                  <a:gd name="T0" fmla="*/ 2147483647 w 794"/>
                  <a:gd name="T1" fmla="*/ 2147483647 h 591"/>
                  <a:gd name="T2" fmla="*/ 2147483647 w 794"/>
                  <a:gd name="T3" fmla="*/ 2147483647 h 591"/>
                  <a:gd name="T4" fmla="*/ 2147483647 w 794"/>
                  <a:gd name="T5" fmla="*/ 2147483647 h 591"/>
                  <a:gd name="T6" fmla="*/ 2147483647 w 794"/>
                  <a:gd name="T7" fmla="*/ 2147483647 h 591"/>
                  <a:gd name="T8" fmla="*/ 2147483647 w 794"/>
                  <a:gd name="T9" fmla="*/ 2147483647 h 591"/>
                  <a:gd name="T10" fmla="*/ 2147483647 w 794"/>
                  <a:gd name="T11" fmla="*/ 2147483647 h 591"/>
                  <a:gd name="T12" fmla="*/ 2147483647 w 794"/>
                  <a:gd name="T13" fmla="*/ 2147483647 h 591"/>
                  <a:gd name="T14" fmla="*/ 2147483647 w 794"/>
                  <a:gd name="T15" fmla="*/ 2147483647 h 591"/>
                  <a:gd name="T16" fmla="*/ 2147483647 w 794"/>
                  <a:gd name="T17" fmla="*/ 2147483647 h 591"/>
                  <a:gd name="T18" fmla="*/ 2147483647 w 794"/>
                  <a:gd name="T19" fmla="*/ 2147483647 h 591"/>
                  <a:gd name="T20" fmla="*/ 2147483647 w 794"/>
                  <a:gd name="T21" fmla="*/ 2147483647 h 591"/>
                  <a:gd name="T22" fmla="*/ 2147483647 w 794"/>
                  <a:gd name="T23" fmla="*/ 2147483647 h 591"/>
                  <a:gd name="T24" fmla="*/ 2147483647 w 794"/>
                  <a:gd name="T25" fmla="*/ 2147483647 h 591"/>
                  <a:gd name="T26" fmla="*/ 2147483647 w 794"/>
                  <a:gd name="T27" fmla="*/ 2147483647 h 591"/>
                  <a:gd name="T28" fmla="*/ 2147483647 w 794"/>
                  <a:gd name="T29" fmla="*/ 2147483647 h 591"/>
                  <a:gd name="T30" fmla="*/ 2147483647 w 794"/>
                  <a:gd name="T31" fmla="*/ 2147483647 h 591"/>
                  <a:gd name="T32" fmla="*/ 2147483647 w 794"/>
                  <a:gd name="T33" fmla="*/ 2147483647 h 591"/>
                  <a:gd name="T34" fmla="*/ 2147483647 w 794"/>
                  <a:gd name="T35" fmla="*/ 2147483647 h 591"/>
                  <a:gd name="T36" fmla="*/ 2147483647 w 794"/>
                  <a:gd name="T37" fmla="*/ 2147483647 h 591"/>
                  <a:gd name="T38" fmla="*/ 2147483647 w 794"/>
                  <a:gd name="T39" fmla="*/ 2147483647 h 591"/>
                  <a:gd name="T40" fmla="*/ 2147483647 w 794"/>
                  <a:gd name="T41" fmla="*/ 2147483647 h 591"/>
                  <a:gd name="T42" fmla="*/ 2147483647 w 794"/>
                  <a:gd name="T43" fmla="*/ 0 h 591"/>
                  <a:gd name="T44" fmla="*/ 2147483647 w 794"/>
                  <a:gd name="T45" fmla="*/ 2147483647 h 591"/>
                  <a:gd name="T46" fmla="*/ 2147483647 w 794"/>
                  <a:gd name="T47" fmla="*/ 2147483647 h 591"/>
                  <a:gd name="T48" fmla="*/ 2147483647 w 794"/>
                  <a:gd name="T49" fmla="*/ 2147483647 h 591"/>
                  <a:gd name="T50" fmla="*/ 2147483647 w 794"/>
                  <a:gd name="T51" fmla="*/ 2147483647 h 591"/>
                  <a:gd name="T52" fmla="*/ 2147483647 w 794"/>
                  <a:gd name="T53" fmla="*/ 2147483647 h 591"/>
                  <a:gd name="T54" fmla="*/ 0 w 794"/>
                  <a:gd name="T55" fmla="*/ 2147483647 h 591"/>
                  <a:gd name="T56" fmla="*/ 2147483647 w 794"/>
                  <a:gd name="T57" fmla="*/ 2147483647 h 591"/>
                  <a:gd name="T58" fmla="*/ 2147483647 w 794"/>
                  <a:gd name="T59" fmla="*/ 2147483647 h 591"/>
                  <a:gd name="T60" fmla="*/ 2147483647 w 794"/>
                  <a:gd name="T61" fmla="*/ 2147483647 h 591"/>
                  <a:gd name="T62" fmla="*/ 2147483647 w 794"/>
                  <a:gd name="T63" fmla="*/ 2147483647 h 591"/>
                  <a:gd name="T64" fmla="*/ 2147483647 w 794"/>
                  <a:gd name="T65" fmla="*/ 2147483647 h 591"/>
                  <a:gd name="T66" fmla="*/ 2147483647 w 794"/>
                  <a:gd name="T67" fmla="*/ 2147483647 h 591"/>
                  <a:gd name="T68" fmla="*/ 2147483647 w 794"/>
                  <a:gd name="T69" fmla="*/ 2147483647 h 591"/>
                  <a:gd name="T70" fmla="*/ 2147483647 w 794"/>
                  <a:gd name="T71" fmla="*/ 2147483647 h 591"/>
                  <a:gd name="T72" fmla="*/ 2147483647 w 794"/>
                  <a:gd name="T73" fmla="*/ 2147483647 h 591"/>
                  <a:gd name="T74" fmla="*/ 2147483647 w 794"/>
                  <a:gd name="T75" fmla="*/ 2147483647 h 591"/>
                  <a:gd name="T76" fmla="*/ 2147483647 w 794"/>
                  <a:gd name="T77" fmla="*/ 2147483647 h 591"/>
                  <a:gd name="T78" fmla="*/ 2147483647 w 794"/>
                  <a:gd name="T79" fmla="*/ 2147483647 h 591"/>
                  <a:gd name="T80" fmla="*/ 2147483647 w 794"/>
                  <a:gd name="T81" fmla="*/ 2147483647 h 591"/>
                  <a:gd name="T82" fmla="*/ 2147483647 w 794"/>
                  <a:gd name="T83" fmla="*/ 2147483647 h 591"/>
                  <a:gd name="T84" fmla="*/ 2147483647 w 794"/>
                  <a:gd name="T85" fmla="*/ 2147483647 h 591"/>
                  <a:gd name="T86" fmla="*/ 2147483647 w 794"/>
                  <a:gd name="T87" fmla="*/ 2147483647 h 591"/>
                  <a:gd name="T88" fmla="*/ 2147483647 w 794"/>
                  <a:gd name="T89" fmla="*/ 2147483647 h 591"/>
                  <a:gd name="T90" fmla="*/ 2147483647 w 794"/>
                  <a:gd name="T91" fmla="*/ 2147483647 h 591"/>
                  <a:gd name="T92" fmla="*/ 2147483647 w 794"/>
                  <a:gd name="T93" fmla="*/ 2147483647 h 591"/>
                  <a:gd name="T94" fmla="*/ 2147483647 w 794"/>
                  <a:gd name="T95" fmla="*/ 2147483647 h 591"/>
                  <a:gd name="T96" fmla="*/ 2147483647 w 794"/>
                  <a:gd name="T97" fmla="*/ 2147483647 h 591"/>
                  <a:gd name="T98" fmla="*/ 2147483647 w 794"/>
                  <a:gd name="T99" fmla="*/ 2147483647 h 591"/>
                  <a:gd name="T100" fmla="*/ 2147483647 w 794"/>
                  <a:gd name="T101" fmla="*/ 2147483647 h 5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94"/>
                  <a:gd name="T154" fmla="*/ 0 h 591"/>
                  <a:gd name="T155" fmla="*/ 794 w 794"/>
                  <a:gd name="T156" fmla="*/ 591 h 5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94" h="591">
                    <a:moveTo>
                      <a:pt x="783" y="463"/>
                    </a:moveTo>
                    <a:lnTo>
                      <a:pt x="771" y="468"/>
                    </a:lnTo>
                    <a:lnTo>
                      <a:pt x="757" y="474"/>
                    </a:lnTo>
                    <a:lnTo>
                      <a:pt x="742" y="480"/>
                    </a:lnTo>
                    <a:lnTo>
                      <a:pt x="719" y="486"/>
                    </a:lnTo>
                    <a:lnTo>
                      <a:pt x="704" y="486"/>
                    </a:lnTo>
                    <a:lnTo>
                      <a:pt x="698" y="486"/>
                    </a:lnTo>
                    <a:lnTo>
                      <a:pt x="687" y="480"/>
                    </a:lnTo>
                    <a:lnTo>
                      <a:pt x="675" y="480"/>
                    </a:lnTo>
                    <a:lnTo>
                      <a:pt x="660" y="480"/>
                    </a:lnTo>
                    <a:lnTo>
                      <a:pt x="655" y="486"/>
                    </a:lnTo>
                    <a:lnTo>
                      <a:pt x="617" y="474"/>
                    </a:lnTo>
                    <a:lnTo>
                      <a:pt x="620" y="428"/>
                    </a:lnTo>
                    <a:lnTo>
                      <a:pt x="570" y="404"/>
                    </a:lnTo>
                    <a:lnTo>
                      <a:pt x="556" y="404"/>
                    </a:lnTo>
                    <a:lnTo>
                      <a:pt x="521" y="387"/>
                    </a:lnTo>
                    <a:lnTo>
                      <a:pt x="480" y="375"/>
                    </a:lnTo>
                    <a:lnTo>
                      <a:pt x="474" y="369"/>
                    </a:lnTo>
                    <a:lnTo>
                      <a:pt x="460" y="361"/>
                    </a:lnTo>
                    <a:lnTo>
                      <a:pt x="445" y="364"/>
                    </a:lnTo>
                    <a:lnTo>
                      <a:pt x="419" y="340"/>
                    </a:lnTo>
                    <a:lnTo>
                      <a:pt x="401" y="335"/>
                    </a:lnTo>
                    <a:lnTo>
                      <a:pt x="375" y="329"/>
                    </a:lnTo>
                    <a:lnTo>
                      <a:pt x="320" y="332"/>
                    </a:lnTo>
                    <a:lnTo>
                      <a:pt x="326" y="311"/>
                    </a:lnTo>
                    <a:lnTo>
                      <a:pt x="305" y="303"/>
                    </a:lnTo>
                    <a:lnTo>
                      <a:pt x="265" y="308"/>
                    </a:lnTo>
                    <a:lnTo>
                      <a:pt x="285" y="288"/>
                    </a:lnTo>
                    <a:lnTo>
                      <a:pt x="297" y="282"/>
                    </a:lnTo>
                    <a:lnTo>
                      <a:pt x="308" y="271"/>
                    </a:lnTo>
                    <a:lnTo>
                      <a:pt x="314" y="262"/>
                    </a:lnTo>
                    <a:lnTo>
                      <a:pt x="352" y="241"/>
                    </a:lnTo>
                    <a:lnTo>
                      <a:pt x="381" y="256"/>
                    </a:lnTo>
                    <a:lnTo>
                      <a:pt x="407" y="271"/>
                    </a:lnTo>
                    <a:lnTo>
                      <a:pt x="451" y="294"/>
                    </a:lnTo>
                    <a:lnTo>
                      <a:pt x="465" y="294"/>
                    </a:lnTo>
                    <a:lnTo>
                      <a:pt x="477" y="291"/>
                    </a:lnTo>
                    <a:lnTo>
                      <a:pt x="483" y="285"/>
                    </a:lnTo>
                    <a:lnTo>
                      <a:pt x="506" y="262"/>
                    </a:lnTo>
                    <a:lnTo>
                      <a:pt x="532" y="239"/>
                    </a:lnTo>
                    <a:lnTo>
                      <a:pt x="564" y="212"/>
                    </a:lnTo>
                    <a:lnTo>
                      <a:pt x="562" y="198"/>
                    </a:lnTo>
                    <a:lnTo>
                      <a:pt x="564" y="189"/>
                    </a:lnTo>
                    <a:lnTo>
                      <a:pt x="579" y="166"/>
                    </a:lnTo>
                    <a:lnTo>
                      <a:pt x="588" y="157"/>
                    </a:lnTo>
                    <a:lnTo>
                      <a:pt x="596" y="148"/>
                    </a:lnTo>
                    <a:lnTo>
                      <a:pt x="602" y="137"/>
                    </a:lnTo>
                    <a:lnTo>
                      <a:pt x="605" y="113"/>
                    </a:lnTo>
                    <a:lnTo>
                      <a:pt x="596" y="105"/>
                    </a:lnTo>
                    <a:lnTo>
                      <a:pt x="559" y="105"/>
                    </a:lnTo>
                    <a:lnTo>
                      <a:pt x="556" y="111"/>
                    </a:lnTo>
                    <a:lnTo>
                      <a:pt x="541" y="122"/>
                    </a:lnTo>
                    <a:lnTo>
                      <a:pt x="541" y="128"/>
                    </a:lnTo>
                    <a:lnTo>
                      <a:pt x="541" y="134"/>
                    </a:lnTo>
                    <a:lnTo>
                      <a:pt x="541" y="137"/>
                    </a:lnTo>
                    <a:lnTo>
                      <a:pt x="544" y="148"/>
                    </a:lnTo>
                    <a:lnTo>
                      <a:pt x="541" y="157"/>
                    </a:lnTo>
                    <a:lnTo>
                      <a:pt x="535" y="169"/>
                    </a:lnTo>
                    <a:lnTo>
                      <a:pt x="509" y="198"/>
                    </a:lnTo>
                    <a:lnTo>
                      <a:pt x="486" y="209"/>
                    </a:lnTo>
                    <a:lnTo>
                      <a:pt x="465" y="227"/>
                    </a:lnTo>
                    <a:lnTo>
                      <a:pt x="457" y="233"/>
                    </a:lnTo>
                    <a:lnTo>
                      <a:pt x="451" y="230"/>
                    </a:lnTo>
                    <a:lnTo>
                      <a:pt x="448" y="224"/>
                    </a:lnTo>
                    <a:lnTo>
                      <a:pt x="422" y="207"/>
                    </a:lnTo>
                    <a:lnTo>
                      <a:pt x="407" y="186"/>
                    </a:lnTo>
                    <a:lnTo>
                      <a:pt x="416" y="160"/>
                    </a:lnTo>
                    <a:lnTo>
                      <a:pt x="410" y="145"/>
                    </a:lnTo>
                    <a:lnTo>
                      <a:pt x="399" y="140"/>
                    </a:lnTo>
                    <a:lnTo>
                      <a:pt x="407" y="137"/>
                    </a:lnTo>
                    <a:lnTo>
                      <a:pt x="413" y="131"/>
                    </a:lnTo>
                    <a:lnTo>
                      <a:pt x="413" y="111"/>
                    </a:lnTo>
                    <a:lnTo>
                      <a:pt x="419" y="96"/>
                    </a:lnTo>
                    <a:lnTo>
                      <a:pt x="422" y="96"/>
                    </a:lnTo>
                    <a:lnTo>
                      <a:pt x="425" y="93"/>
                    </a:lnTo>
                    <a:lnTo>
                      <a:pt x="428" y="90"/>
                    </a:lnTo>
                    <a:lnTo>
                      <a:pt x="422" y="76"/>
                    </a:lnTo>
                    <a:lnTo>
                      <a:pt x="425" y="55"/>
                    </a:lnTo>
                    <a:lnTo>
                      <a:pt x="422" y="44"/>
                    </a:lnTo>
                    <a:lnTo>
                      <a:pt x="428" y="44"/>
                    </a:lnTo>
                    <a:lnTo>
                      <a:pt x="431" y="41"/>
                    </a:lnTo>
                    <a:lnTo>
                      <a:pt x="433" y="35"/>
                    </a:lnTo>
                    <a:lnTo>
                      <a:pt x="431" y="32"/>
                    </a:lnTo>
                    <a:lnTo>
                      <a:pt x="422" y="26"/>
                    </a:lnTo>
                    <a:lnTo>
                      <a:pt x="416" y="20"/>
                    </a:lnTo>
                    <a:lnTo>
                      <a:pt x="407" y="12"/>
                    </a:lnTo>
                    <a:lnTo>
                      <a:pt x="399" y="9"/>
                    </a:lnTo>
                    <a:lnTo>
                      <a:pt x="390" y="6"/>
                    </a:lnTo>
                    <a:lnTo>
                      <a:pt x="378" y="3"/>
                    </a:lnTo>
                    <a:lnTo>
                      <a:pt x="367" y="0"/>
                    </a:lnTo>
                    <a:lnTo>
                      <a:pt x="358" y="0"/>
                    </a:lnTo>
                    <a:lnTo>
                      <a:pt x="343" y="6"/>
                    </a:lnTo>
                    <a:lnTo>
                      <a:pt x="334" y="9"/>
                    </a:lnTo>
                    <a:lnTo>
                      <a:pt x="329" y="15"/>
                    </a:lnTo>
                    <a:lnTo>
                      <a:pt x="317" y="26"/>
                    </a:lnTo>
                    <a:lnTo>
                      <a:pt x="311" y="41"/>
                    </a:lnTo>
                    <a:lnTo>
                      <a:pt x="308" y="55"/>
                    </a:lnTo>
                    <a:lnTo>
                      <a:pt x="305" y="76"/>
                    </a:lnTo>
                    <a:lnTo>
                      <a:pt x="282" y="55"/>
                    </a:lnTo>
                    <a:lnTo>
                      <a:pt x="273" y="49"/>
                    </a:lnTo>
                    <a:lnTo>
                      <a:pt x="265" y="47"/>
                    </a:lnTo>
                    <a:lnTo>
                      <a:pt x="253" y="47"/>
                    </a:lnTo>
                    <a:lnTo>
                      <a:pt x="244" y="49"/>
                    </a:lnTo>
                    <a:lnTo>
                      <a:pt x="230" y="55"/>
                    </a:lnTo>
                    <a:lnTo>
                      <a:pt x="224" y="58"/>
                    </a:lnTo>
                    <a:lnTo>
                      <a:pt x="206" y="67"/>
                    </a:lnTo>
                    <a:lnTo>
                      <a:pt x="174" y="67"/>
                    </a:lnTo>
                    <a:lnTo>
                      <a:pt x="142" y="76"/>
                    </a:lnTo>
                    <a:lnTo>
                      <a:pt x="122" y="79"/>
                    </a:lnTo>
                    <a:lnTo>
                      <a:pt x="105" y="81"/>
                    </a:lnTo>
                    <a:lnTo>
                      <a:pt x="93" y="87"/>
                    </a:lnTo>
                    <a:lnTo>
                      <a:pt x="84" y="96"/>
                    </a:lnTo>
                    <a:lnTo>
                      <a:pt x="17" y="201"/>
                    </a:lnTo>
                    <a:lnTo>
                      <a:pt x="17" y="207"/>
                    </a:lnTo>
                    <a:lnTo>
                      <a:pt x="6" y="207"/>
                    </a:lnTo>
                    <a:lnTo>
                      <a:pt x="0" y="224"/>
                    </a:lnTo>
                    <a:lnTo>
                      <a:pt x="6" y="233"/>
                    </a:lnTo>
                    <a:lnTo>
                      <a:pt x="11" y="236"/>
                    </a:lnTo>
                    <a:lnTo>
                      <a:pt x="14" y="241"/>
                    </a:lnTo>
                    <a:lnTo>
                      <a:pt x="29" y="244"/>
                    </a:lnTo>
                    <a:lnTo>
                      <a:pt x="43" y="247"/>
                    </a:lnTo>
                    <a:lnTo>
                      <a:pt x="49" y="239"/>
                    </a:lnTo>
                    <a:lnTo>
                      <a:pt x="52" y="233"/>
                    </a:lnTo>
                    <a:lnTo>
                      <a:pt x="55" y="221"/>
                    </a:lnTo>
                    <a:lnTo>
                      <a:pt x="70" y="207"/>
                    </a:lnTo>
                    <a:lnTo>
                      <a:pt x="73" y="198"/>
                    </a:lnTo>
                    <a:lnTo>
                      <a:pt x="93" y="175"/>
                    </a:lnTo>
                    <a:lnTo>
                      <a:pt x="96" y="166"/>
                    </a:lnTo>
                    <a:lnTo>
                      <a:pt x="105" y="166"/>
                    </a:lnTo>
                    <a:lnTo>
                      <a:pt x="134" y="143"/>
                    </a:lnTo>
                    <a:lnTo>
                      <a:pt x="160" y="140"/>
                    </a:lnTo>
                    <a:lnTo>
                      <a:pt x="183" y="134"/>
                    </a:lnTo>
                    <a:lnTo>
                      <a:pt x="183" y="140"/>
                    </a:lnTo>
                    <a:lnTo>
                      <a:pt x="139" y="215"/>
                    </a:lnTo>
                    <a:lnTo>
                      <a:pt x="131" y="221"/>
                    </a:lnTo>
                    <a:lnTo>
                      <a:pt x="128" y="227"/>
                    </a:lnTo>
                    <a:lnTo>
                      <a:pt x="128" y="241"/>
                    </a:lnTo>
                    <a:lnTo>
                      <a:pt x="116" y="244"/>
                    </a:lnTo>
                    <a:lnTo>
                      <a:pt x="110" y="253"/>
                    </a:lnTo>
                    <a:lnTo>
                      <a:pt x="73" y="291"/>
                    </a:lnTo>
                    <a:lnTo>
                      <a:pt x="73" y="303"/>
                    </a:lnTo>
                    <a:lnTo>
                      <a:pt x="78" y="317"/>
                    </a:lnTo>
                    <a:lnTo>
                      <a:pt x="84" y="337"/>
                    </a:lnTo>
                    <a:lnTo>
                      <a:pt x="87" y="361"/>
                    </a:lnTo>
                    <a:lnTo>
                      <a:pt x="90" y="364"/>
                    </a:lnTo>
                    <a:lnTo>
                      <a:pt x="93" y="375"/>
                    </a:lnTo>
                    <a:lnTo>
                      <a:pt x="99" y="390"/>
                    </a:lnTo>
                    <a:lnTo>
                      <a:pt x="105" y="399"/>
                    </a:lnTo>
                    <a:lnTo>
                      <a:pt x="113" y="410"/>
                    </a:lnTo>
                    <a:lnTo>
                      <a:pt x="128" y="422"/>
                    </a:lnTo>
                    <a:lnTo>
                      <a:pt x="134" y="428"/>
                    </a:lnTo>
                    <a:lnTo>
                      <a:pt x="137" y="436"/>
                    </a:lnTo>
                    <a:lnTo>
                      <a:pt x="125" y="433"/>
                    </a:lnTo>
                    <a:lnTo>
                      <a:pt x="113" y="436"/>
                    </a:lnTo>
                    <a:lnTo>
                      <a:pt x="102" y="442"/>
                    </a:lnTo>
                    <a:lnTo>
                      <a:pt x="96" y="433"/>
                    </a:lnTo>
                    <a:lnTo>
                      <a:pt x="90" y="428"/>
                    </a:lnTo>
                    <a:lnTo>
                      <a:pt x="84" y="425"/>
                    </a:lnTo>
                    <a:lnTo>
                      <a:pt x="78" y="425"/>
                    </a:lnTo>
                    <a:lnTo>
                      <a:pt x="73" y="428"/>
                    </a:lnTo>
                    <a:lnTo>
                      <a:pt x="64" y="431"/>
                    </a:lnTo>
                    <a:lnTo>
                      <a:pt x="64" y="436"/>
                    </a:lnTo>
                    <a:lnTo>
                      <a:pt x="43" y="463"/>
                    </a:lnTo>
                    <a:lnTo>
                      <a:pt x="55" y="468"/>
                    </a:lnTo>
                    <a:lnTo>
                      <a:pt x="38" y="480"/>
                    </a:lnTo>
                    <a:lnTo>
                      <a:pt x="26" y="492"/>
                    </a:lnTo>
                    <a:lnTo>
                      <a:pt x="17" y="506"/>
                    </a:lnTo>
                    <a:lnTo>
                      <a:pt x="11" y="521"/>
                    </a:lnTo>
                    <a:lnTo>
                      <a:pt x="8" y="535"/>
                    </a:lnTo>
                    <a:lnTo>
                      <a:pt x="8" y="556"/>
                    </a:lnTo>
                    <a:lnTo>
                      <a:pt x="8" y="564"/>
                    </a:lnTo>
                    <a:lnTo>
                      <a:pt x="38" y="561"/>
                    </a:lnTo>
                    <a:lnTo>
                      <a:pt x="43" y="550"/>
                    </a:lnTo>
                    <a:lnTo>
                      <a:pt x="55" y="538"/>
                    </a:lnTo>
                    <a:lnTo>
                      <a:pt x="67" y="529"/>
                    </a:lnTo>
                    <a:lnTo>
                      <a:pt x="81" y="524"/>
                    </a:lnTo>
                    <a:lnTo>
                      <a:pt x="105" y="515"/>
                    </a:lnTo>
                    <a:lnTo>
                      <a:pt x="116" y="512"/>
                    </a:lnTo>
                    <a:lnTo>
                      <a:pt x="119" y="529"/>
                    </a:lnTo>
                    <a:lnTo>
                      <a:pt x="163" y="512"/>
                    </a:lnTo>
                    <a:lnTo>
                      <a:pt x="206" y="506"/>
                    </a:lnTo>
                    <a:lnTo>
                      <a:pt x="215" y="503"/>
                    </a:lnTo>
                    <a:lnTo>
                      <a:pt x="241" y="500"/>
                    </a:lnTo>
                    <a:lnTo>
                      <a:pt x="250" y="495"/>
                    </a:lnTo>
                    <a:lnTo>
                      <a:pt x="262" y="492"/>
                    </a:lnTo>
                    <a:lnTo>
                      <a:pt x="273" y="492"/>
                    </a:lnTo>
                    <a:lnTo>
                      <a:pt x="282" y="492"/>
                    </a:lnTo>
                    <a:lnTo>
                      <a:pt x="291" y="489"/>
                    </a:lnTo>
                    <a:lnTo>
                      <a:pt x="305" y="480"/>
                    </a:lnTo>
                    <a:lnTo>
                      <a:pt x="320" y="468"/>
                    </a:lnTo>
                    <a:lnTo>
                      <a:pt x="329" y="468"/>
                    </a:lnTo>
                    <a:lnTo>
                      <a:pt x="334" y="463"/>
                    </a:lnTo>
                    <a:lnTo>
                      <a:pt x="337" y="457"/>
                    </a:lnTo>
                    <a:lnTo>
                      <a:pt x="340" y="448"/>
                    </a:lnTo>
                    <a:lnTo>
                      <a:pt x="340" y="439"/>
                    </a:lnTo>
                    <a:lnTo>
                      <a:pt x="340" y="428"/>
                    </a:lnTo>
                    <a:lnTo>
                      <a:pt x="372" y="413"/>
                    </a:lnTo>
                    <a:lnTo>
                      <a:pt x="407" y="419"/>
                    </a:lnTo>
                    <a:lnTo>
                      <a:pt x="416" y="436"/>
                    </a:lnTo>
                    <a:lnTo>
                      <a:pt x="431" y="448"/>
                    </a:lnTo>
                    <a:lnTo>
                      <a:pt x="486" y="474"/>
                    </a:lnTo>
                    <a:lnTo>
                      <a:pt x="512" y="486"/>
                    </a:lnTo>
                    <a:lnTo>
                      <a:pt x="541" y="500"/>
                    </a:lnTo>
                    <a:lnTo>
                      <a:pt x="564" y="515"/>
                    </a:lnTo>
                    <a:lnTo>
                      <a:pt x="576" y="515"/>
                    </a:lnTo>
                    <a:lnTo>
                      <a:pt x="591" y="532"/>
                    </a:lnTo>
                    <a:lnTo>
                      <a:pt x="605" y="538"/>
                    </a:lnTo>
                    <a:lnTo>
                      <a:pt x="608" y="553"/>
                    </a:lnTo>
                    <a:lnTo>
                      <a:pt x="617" y="567"/>
                    </a:lnTo>
                    <a:lnTo>
                      <a:pt x="628" y="588"/>
                    </a:lnTo>
                    <a:lnTo>
                      <a:pt x="634" y="591"/>
                    </a:lnTo>
                    <a:lnTo>
                      <a:pt x="640" y="591"/>
                    </a:lnTo>
                    <a:lnTo>
                      <a:pt x="643" y="588"/>
                    </a:lnTo>
                    <a:lnTo>
                      <a:pt x="684" y="564"/>
                    </a:lnTo>
                    <a:lnTo>
                      <a:pt x="681" y="553"/>
                    </a:lnTo>
                    <a:lnTo>
                      <a:pt x="707" y="544"/>
                    </a:lnTo>
                    <a:lnTo>
                      <a:pt x="727" y="538"/>
                    </a:lnTo>
                    <a:lnTo>
                      <a:pt x="745" y="529"/>
                    </a:lnTo>
                    <a:lnTo>
                      <a:pt x="759" y="515"/>
                    </a:lnTo>
                    <a:lnTo>
                      <a:pt x="771" y="503"/>
                    </a:lnTo>
                    <a:lnTo>
                      <a:pt x="789" y="480"/>
                    </a:lnTo>
                    <a:lnTo>
                      <a:pt x="794" y="471"/>
                    </a:lnTo>
                    <a:lnTo>
                      <a:pt x="783" y="46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Freeform 590"/>
              <p:cNvSpPr>
                <a:spLocks/>
              </p:cNvSpPr>
              <p:nvPr/>
            </p:nvSpPr>
            <p:spPr bwMode="auto">
              <a:xfrm>
                <a:off x="5450003" y="939021"/>
                <a:ext cx="423940" cy="108852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5"/>
                  </a:cxn>
                  <a:cxn ang="0">
                    <a:pos x="15" y="12"/>
                  </a:cxn>
                  <a:cxn ang="0">
                    <a:pos x="29" y="3"/>
                  </a:cxn>
                  <a:cxn ang="0">
                    <a:pos x="29" y="3"/>
                  </a:cxn>
                  <a:cxn ang="0">
                    <a:pos x="35" y="0"/>
                  </a:cxn>
                  <a:cxn ang="0">
                    <a:pos x="41" y="3"/>
                  </a:cxn>
                  <a:cxn ang="0">
                    <a:pos x="50" y="12"/>
                  </a:cxn>
                  <a:cxn ang="0">
                    <a:pos x="50" y="12"/>
                  </a:cxn>
                  <a:cxn ang="0">
                    <a:pos x="61" y="15"/>
                  </a:cxn>
                  <a:cxn ang="0">
                    <a:pos x="76" y="18"/>
                  </a:cxn>
                  <a:cxn ang="0">
                    <a:pos x="102" y="15"/>
                  </a:cxn>
                  <a:cxn ang="0">
                    <a:pos x="102" y="15"/>
                  </a:cxn>
                  <a:cxn ang="0">
                    <a:pos x="114" y="15"/>
                  </a:cxn>
                  <a:cxn ang="0">
                    <a:pos x="125" y="18"/>
                  </a:cxn>
                  <a:cxn ang="0">
                    <a:pos x="125" y="18"/>
                  </a:cxn>
                  <a:cxn ang="0">
                    <a:pos x="140" y="21"/>
                  </a:cxn>
                  <a:cxn ang="0">
                    <a:pos x="140" y="21"/>
                  </a:cxn>
                  <a:cxn ang="0">
                    <a:pos x="134" y="27"/>
                  </a:cxn>
                  <a:cxn ang="0">
                    <a:pos x="128" y="29"/>
                  </a:cxn>
                  <a:cxn ang="0">
                    <a:pos x="128" y="29"/>
                  </a:cxn>
                  <a:cxn ang="0">
                    <a:pos x="120" y="29"/>
                  </a:cxn>
                  <a:cxn ang="0">
                    <a:pos x="111" y="29"/>
                  </a:cxn>
                  <a:cxn ang="0">
                    <a:pos x="111" y="29"/>
                  </a:cxn>
                  <a:cxn ang="0">
                    <a:pos x="96" y="29"/>
                  </a:cxn>
                  <a:cxn ang="0">
                    <a:pos x="79" y="32"/>
                  </a:cxn>
                  <a:cxn ang="0">
                    <a:pos x="79" y="32"/>
                  </a:cxn>
                  <a:cxn ang="0">
                    <a:pos x="56" y="38"/>
                  </a:cxn>
                  <a:cxn ang="0">
                    <a:pos x="44" y="38"/>
                  </a:cxn>
                  <a:cxn ang="0">
                    <a:pos x="32" y="35"/>
                  </a:cxn>
                  <a:cxn ang="0">
                    <a:pos x="32" y="35"/>
                  </a:cxn>
                  <a:cxn ang="0">
                    <a:pos x="21" y="29"/>
                  </a:cxn>
                  <a:cxn ang="0">
                    <a:pos x="12" y="24"/>
                  </a:cxn>
                  <a:cxn ang="0">
                    <a:pos x="0" y="15"/>
                  </a:cxn>
                </a:cxnLst>
                <a:rect l="0" t="0" r="r" b="b"/>
                <a:pathLst>
                  <a:path w="140" h="38">
                    <a:moveTo>
                      <a:pt x="0" y="15"/>
                    </a:moveTo>
                    <a:lnTo>
                      <a:pt x="0" y="15"/>
                    </a:lnTo>
                    <a:lnTo>
                      <a:pt x="15" y="12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5" y="0"/>
                    </a:lnTo>
                    <a:lnTo>
                      <a:pt x="41" y="3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61" y="15"/>
                    </a:lnTo>
                    <a:lnTo>
                      <a:pt x="76" y="18"/>
                    </a:lnTo>
                    <a:lnTo>
                      <a:pt x="102" y="15"/>
                    </a:lnTo>
                    <a:lnTo>
                      <a:pt x="102" y="15"/>
                    </a:lnTo>
                    <a:lnTo>
                      <a:pt x="114" y="15"/>
                    </a:lnTo>
                    <a:lnTo>
                      <a:pt x="125" y="18"/>
                    </a:lnTo>
                    <a:lnTo>
                      <a:pt x="125" y="18"/>
                    </a:lnTo>
                    <a:lnTo>
                      <a:pt x="140" y="21"/>
                    </a:lnTo>
                    <a:lnTo>
                      <a:pt x="140" y="21"/>
                    </a:lnTo>
                    <a:lnTo>
                      <a:pt x="134" y="27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0" y="29"/>
                    </a:lnTo>
                    <a:lnTo>
                      <a:pt x="111" y="29"/>
                    </a:lnTo>
                    <a:lnTo>
                      <a:pt x="111" y="29"/>
                    </a:lnTo>
                    <a:lnTo>
                      <a:pt x="96" y="29"/>
                    </a:lnTo>
                    <a:lnTo>
                      <a:pt x="79" y="32"/>
                    </a:lnTo>
                    <a:lnTo>
                      <a:pt x="79" y="32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5"/>
                    </a:lnTo>
                    <a:lnTo>
                      <a:pt x="32" y="35"/>
                    </a:lnTo>
                    <a:lnTo>
                      <a:pt x="21" y="29"/>
                    </a:lnTo>
                    <a:lnTo>
                      <a:pt x="12" y="24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latin typeface="Calibri" charset="0"/>
                  <a:ea typeface="+mn-ea"/>
                </a:endParaRPr>
              </a:p>
            </p:txBody>
          </p:sp>
          <p:sp>
            <p:nvSpPr>
              <p:cNvPr id="71" name="Freeform 591"/>
              <p:cNvSpPr>
                <a:spLocks noEditPoints="1"/>
              </p:cNvSpPr>
              <p:nvPr/>
            </p:nvSpPr>
            <p:spPr bwMode="auto">
              <a:xfrm>
                <a:off x="5689149" y="873710"/>
                <a:ext cx="298930" cy="342885"/>
              </a:xfrm>
              <a:custGeom>
                <a:avLst/>
                <a:gdLst>
                  <a:gd name="T0" fmla="*/ 2147483647 w 99"/>
                  <a:gd name="T1" fmla="*/ 2147483647 h 113"/>
                  <a:gd name="T2" fmla="*/ 2147483647 w 99"/>
                  <a:gd name="T3" fmla="*/ 2147483647 h 113"/>
                  <a:gd name="T4" fmla="*/ 2147483647 w 99"/>
                  <a:gd name="T5" fmla="*/ 2147483647 h 113"/>
                  <a:gd name="T6" fmla="*/ 2147483647 w 99"/>
                  <a:gd name="T7" fmla="*/ 0 h 113"/>
                  <a:gd name="T8" fmla="*/ 2147483647 w 99"/>
                  <a:gd name="T9" fmla="*/ 2147483647 h 113"/>
                  <a:gd name="T10" fmla="*/ 2147483647 w 99"/>
                  <a:gd name="T11" fmla="*/ 2147483647 h 113"/>
                  <a:gd name="T12" fmla="*/ 2147483647 w 99"/>
                  <a:gd name="T13" fmla="*/ 2147483647 h 113"/>
                  <a:gd name="T14" fmla="*/ 2147483647 w 99"/>
                  <a:gd name="T15" fmla="*/ 2147483647 h 113"/>
                  <a:gd name="T16" fmla="*/ 0 w 99"/>
                  <a:gd name="T17" fmla="*/ 2147483647 h 113"/>
                  <a:gd name="T18" fmla="*/ 2147483647 w 99"/>
                  <a:gd name="T19" fmla="*/ 2147483647 h 113"/>
                  <a:gd name="T20" fmla="*/ 2147483647 w 99"/>
                  <a:gd name="T21" fmla="*/ 2147483647 h 113"/>
                  <a:gd name="T22" fmla="*/ 2147483647 w 99"/>
                  <a:gd name="T23" fmla="*/ 2147483647 h 113"/>
                  <a:gd name="T24" fmla="*/ 2147483647 w 99"/>
                  <a:gd name="T25" fmla="*/ 2147483647 h 113"/>
                  <a:gd name="T26" fmla="*/ 2147483647 w 99"/>
                  <a:gd name="T27" fmla="*/ 2147483647 h 113"/>
                  <a:gd name="T28" fmla="*/ 2147483647 w 99"/>
                  <a:gd name="T29" fmla="*/ 2147483647 h 113"/>
                  <a:gd name="T30" fmla="*/ 2147483647 w 99"/>
                  <a:gd name="T31" fmla="*/ 2147483647 h 113"/>
                  <a:gd name="T32" fmla="*/ 2147483647 w 99"/>
                  <a:gd name="T33" fmla="*/ 2147483647 h 113"/>
                  <a:gd name="T34" fmla="*/ 2147483647 w 99"/>
                  <a:gd name="T35" fmla="*/ 2147483647 h 113"/>
                  <a:gd name="T36" fmla="*/ 2147483647 w 99"/>
                  <a:gd name="T37" fmla="*/ 2147483647 h 113"/>
                  <a:gd name="T38" fmla="*/ 2147483647 w 99"/>
                  <a:gd name="T39" fmla="*/ 2147483647 h 113"/>
                  <a:gd name="T40" fmla="*/ 2147483647 w 99"/>
                  <a:gd name="T41" fmla="*/ 2147483647 h 113"/>
                  <a:gd name="T42" fmla="*/ 2147483647 w 99"/>
                  <a:gd name="T43" fmla="*/ 2147483647 h 113"/>
                  <a:gd name="T44" fmla="*/ 2147483647 w 99"/>
                  <a:gd name="T45" fmla="*/ 2147483647 h 113"/>
                  <a:gd name="T46" fmla="*/ 2147483647 w 99"/>
                  <a:gd name="T47" fmla="*/ 2147483647 h 113"/>
                  <a:gd name="T48" fmla="*/ 2147483647 w 99"/>
                  <a:gd name="T49" fmla="*/ 2147483647 h 113"/>
                  <a:gd name="T50" fmla="*/ 2147483647 w 99"/>
                  <a:gd name="T51" fmla="*/ 2147483647 h 113"/>
                  <a:gd name="T52" fmla="*/ 2147483647 w 99"/>
                  <a:gd name="T53" fmla="*/ 2147483647 h 113"/>
                  <a:gd name="T54" fmla="*/ 2147483647 w 99"/>
                  <a:gd name="T55" fmla="*/ 2147483647 h 11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9"/>
                  <a:gd name="T85" fmla="*/ 0 h 113"/>
                  <a:gd name="T86" fmla="*/ 99 w 99"/>
                  <a:gd name="T87" fmla="*/ 113 h 11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9" h="113">
                    <a:moveTo>
                      <a:pt x="73" y="38"/>
                    </a:moveTo>
                    <a:lnTo>
                      <a:pt x="70" y="29"/>
                    </a:lnTo>
                    <a:lnTo>
                      <a:pt x="64" y="12"/>
                    </a:lnTo>
                    <a:lnTo>
                      <a:pt x="38" y="0"/>
                    </a:lnTo>
                    <a:lnTo>
                      <a:pt x="41" y="17"/>
                    </a:lnTo>
                    <a:lnTo>
                      <a:pt x="35" y="32"/>
                    </a:lnTo>
                    <a:lnTo>
                      <a:pt x="26" y="49"/>
                    </a:lnTo>
                    <a:lnTo>
                      <a:pt x="6" y="79"/>
                    </a:lnTo>
                    <a:lnTo>
                      <a:pt x="0" y="113"/>
                    </a:lnTo>
                    <a:lnTo>
                      <a:pt x="3" y="108"/>
                    </a:lnTo>
                    <a:lnTo>
                      <a:pt x="17" y="102"/>
                    </a:lnTo>
                    <a:lnTo>
                      <a:pt x="32" y="96"/>
                    </a:lnTo>
                    <a:lnTo>
                      <a:pt x="46" y="93"/>
                    </a:lnTo>
                    <a:lnTo>
                      <a:pt x="58" y="90"/>
                    </a:lnTo>
                    <a:lnTo>
                      <a:pt x="64" y="90"/>
                    </a:lnTo>
                    <a:lnTo>
                      <a:pt x="81" y="79"/>
                    </a:lnTo>
                    <a:lnTo>
                      <a:pt x="93" y="61"/>
                    </a:lnTo>
                    <a:lnTo>
                      <a:pt x="99" y="41"/>
                    </a:lnTo>
                    <a:lnTo>
                      <a:pt x="73" y="38"/>
                    </a:lnTo>
                    <a:close/>
                    <a:moveTo>
                      <a:pt x="79" y="47"/>
                    </a:moveTo>
                    <a:lnTo>
                      <a:pt x="79" y="47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Calibri" charset="0"/>
                  <a:ea typeface="+mn-ea"/>
                </a:endParaRPr>
              </a:p>
            </p:txBody>
          </p:sp>
          <p:sp>
            <p:nvSpPr>
              <p:cNvPr id="19512" name="Freeform 592"/>
              <p:cNvSpPr>
                <a:spLocks/>
              </p:cNvSpPr>
              <p:nvPr/>
            </p:nvSpPr>
            <p:spPr bwMode="auto">
              <a:xfrm>
                <a:off x="5768176" y="982734"/>
                <a:ext cx="150727" cy="78378"/>
              </a:xfrm>
              <a:custGeom>
                <a:avLst/>
                <a:gdLst>
                  <a:gd name="T0" fmla="*/ 2147483647 w 50"/>
                  <a:gd name="T1" fmla="*/ 2147483647 h 26"/>
                  <a:gd name="T2" fmla="*/ 2147483647 w 50"/>
                  <a:gd name="T3" fmla="*/ 2147483647 h 26"/>
                  <a:gd name="T4" fmla="*/ 2147483647 w 50"/>
                  <a:gd name="T5" fmla="*/ 2147483647 h 26"/>
                  <a:gd name="T6" fmla="*/ 2147483647 w 50"/>
                  <a:gd name="T7" fmla="*/ 2147483647 h 26"/>
                  <a:gd name="T8" fmla="*/ 2147483647 w 50"/>
                  <a:gd name="T9" fmla="*/ 2147483647 h 26"/>
                  <a:gd name="T10" fmla="*/ 2147483647 w 50"/>
                  <a:gd name="T11" fmla="*/ 2147483647 h 26"/>
                  <a:gd name="T12" fmla="*/ 2147483647 w 50"/>
                  <a:gd name="T13" fmla="*/ 2147483647 h 26"/>
                  <a:gd name="T14" fmla="*/ 2147483647 w 50"/>
                  <a:gd name="T15" fmla="*/ 2147483647 h 26"/>
                  <a:gd name="T16" fmla="*/ 2147483647 w 50"/>
                  <a:gd name="T17" fmla="*/ 2147483647 h 26"/>
                  <a:gd name="T18" fmla="*/ 2147483647 w 50"/>
                  <a:gd name="T19" fmla="*/ 2147483647 h 26"/>
                  <a:gd name="T20" fmla="*/ 2147483647 w 50"/>
                  <a:gd name="T21" fmla="*/ 0 h 26"/>
                  <a:gd name="T22" fmla="*/ 2147483647 w 50"/>
                  <a:gd name="T23" fmla="*/ 0 h 26"/>
                  <a:gd name="T24" fmla="*/ 2147483647 w 50"/>
                  <a:gd name="T25" fmla="*/ 0 h 26"/>
                  <a:gd name="T26" fmla="*/ 2147483647 w 50"/>
                  <a:gd name="T27" fmla="*/ 0 h 26"/>
                  <a:gd name="T28" fmla="*/ 2147483647 w 50"/>
                  <a:gd name="T29" fmla="*/ 2147483647 h 26"/>
                  <a:gd name="T30" fmla="*/ 2147483647 w 50"/>
                  <a:gd name="T31" fmla="*/ 2147483647 h 26"/>
                  <a:gd name="T32" fmla="*/ 2147483647 w 50"/>
                  <a:gd name="T33" fmla="*/ 2147483647 h 26"/>
                  <a:gd name="T34" fmla="*/ 2147483647 w 50"/>
                  <a:gd name="T35" fmla="*/ 2147483647 h 26"/>
                  <a:gd name="T36" fmla="*/ 2147483647 w 50"/>
                  <a:gd name="T37" fmla="*/ 2147483647 h 26"/>
                  <a:gd name="T38" fmla="*/ 2147483647 w 50"/>
                  <a:gd name="T39" fmla="*/ 2147483647 h 26"/>
                  <a:gd name="T40" fmla="*/ 2147483647 w 50"/>
                  <a:gd name="T41" fmla="*/ 2147483647 h 26"/>
                  <a:gd name="T42" fmla="*/ 2147483647 w 50"/>
                  <a:gd name="T43" fmla="*/ 2147483647 h 26"/>
                  <a:gd name="T44" fmla="*/ 2147483647 w 50"/>
                  <a:gd name="T45" fmla="*/ 2147483647 h 26"/>
                  <a:gd name="T46" fmla="*/ 2147483647 w 50"/>
                  <a:gd name="T47" fmla="*/ 2147483647 h 26"/>
                  <a:gd name="T48" fmla="*/ 2147483647 w 50"/>
                  <a:gd name="T49" fmla="*/ 2147483647 h 26"/>
                  <a:gd name="T50" fmla="*/ 0 w 50"/>
                  <a:gd name="T51" fmla="*/ 2147483647 h 26"/>
                  <a:gd name="T52" fmla="*/ 0 w 50"/>
                  <a:gd name="T53" fmla="*/ 2147483647 h 26"/>
                  <a:gd name="T54" fmla="*/ 2147483647 w 50"/>
                  <a:gd name="T55" fmla="*/ 2147483647 h 26"/>
                  <a:gd name="T56" fmla="*/ 2147483647 w 50"/>
                  <a:gd name="T57" fmla="*/ 2147483647 h 2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0"/>
                  <a:gd name="T88" fmla="*/ 0 h 26"/>
                  <a:gd name="T89" fmla="*/ 50 w 50"/>
                  <a:gd name="T90" fmla="*/ 26 h 2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0" h="26">
                    <a:moveTo>
                      <a:pt x="9" y="14"/>
                    </a:moveTo>
                    <a:lnTo>
                      <a:pt x="9" y="14"/>
                    </a:lnTo>
                    <a:lnTo>
                      <a:pt x="18" y="17"/>
                    </a:lnTo>
                    <a:lnTo>
                      <a:pt x="29" y="23"/>
                    </a:lnTo>
                    <a:lnTo>
                      <a:pt x="38" y="26"/>
                    </a:lnTo>
                    <a:lnTo>
                      <a:pt x="44" y="26"/>
                    </a:lnTo>
                    <a:lnTo>
                      <a:pt x="47" y="23"/>
                    </a:lnTo>
                    <a:lnTo>
                      <a:pt x="50" y="14"/>
                    </a:lnTo>
                    <a:lnTo>
                      <a:pt x="50" y="6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38" y="6"/>
                    </a:lnTo>
                    <a:lnTo>
                      <a:pt x="35" y="9"/>
                    </a:lnTo>
                    <a:lnTo>
                      <a:pt x="32" y="12"/>
                    </a:lnTo>
                    <a:lnTo>
                      <a:pt x="23" y="9"/>
                    </a:lnTo>
                    <a:lnTo>
                      <a:pt x="15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17"/>
                    </a:lnTo>
                    <a:lnTo>
                      <a:pt x="9" y="1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9495" name="Group 70"/>
            <p:cNvGrpSpPr>
              <a:grpSpLocks/>
            </p:cNvGrpSpPr>
            <p:nvPr/>
          </p:nvGrpSpPr>
          <p:grpSpPr bwMode="auto">
            <a:xfrm>
              <a:off x="4037013" y="4071938"/>
              <a:ext cx="1098550" cy="1120775"/>
              <a:chOff x="4547783" y="4021788"/>
              <a:chExt cx="1334317" cy="1362074"/>
            </a:xfrm>
          </p:grpSpPr>
          <p:grpSp>
            <p:nvGrpSpPr>
              <p:cNvPr id="19498" name="Gruppe 83"/>
              <p:cNvGrpSpPr>
                <a:grpSpLocks/>
              </p:cNvGrpSpPr>
              <p:nvPr/>
            </p:nvGrpSpPr>
            <p:grpSpPr bwMode="auto">
              <a:xfrm>
                <a:off x="4547783" y="4021788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66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31000">
                      <a:schemeClr val="bg2">
                        <a:alpha val="21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7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68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63" name="&quot;No&quot; Symbol 62"/>
              <p:cNvSpPr/>
              <p:nvPr/>
            </p:nvSpPr>
            <p:spPr>
              <a:xfrm>
                <a:off x="4794122" y="4284378"/>
                <a:ext cx="845524" cy="847820"/>
              </a:xfrm>
              <a:prstGeom prst="noSmoking">
                <a:avLst>
                  <a:gd name="adj" fmla="val 14446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chemeClr val="tx1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59" name="Tåre 105"/>
            <p:cNvSpPr/>
            <p:nvPr/>
          </p:nvSpPr>
          <p:spPr bwMode="auto">
            <a:xfrm rot="13500000">
              <a:off x="5365848" y="2551046"/>
              <a:ext cx="1809650" cy="1817823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63000">
                  <a:srgbClr val="CE202A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  <a:reflection stA="25000" endPos="35000" dist="12700" dir="5400000" sy="-100000" algn="bl" rotWithShape="0"/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61" name="TextBox 9"/>
            <p:cNvSpPr txBox="1">
              <a:spLocks noChangeArrowheads="1"/>
            </p:cNvSpPr>
            <p:nvPr/>
          </p:nvSpPr>
          <p:spPr bwMode="auto">
            <a:xfrm>
              <a:off x="5212701" y="2950471"/>
              <a:ext cx="1988199" cy="1362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>
                <a:defRPr/>
              </a:pPr>
              <a:r>
                <a:rPr lang="en-GB" sz="1050" b="1" dirty="0" smtClean="0">
                  <a:solidFill>
                    <a:srgbClr val="FFFFFF"/>
                  </a:solidFill>
                  <a:latin typeface="Arial" charset="0"/>
                </a:rPr>
                <a:t>Buyer power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Please replace with own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. </a:t>
              </a:r>
            </a:p>
            <a:p>
              <a:pPr>
                <a:defRPr/>
              </a:pPr>
              <a:endParaRPr lang="nb-NO" sz="1050" dirty="0" smtClean="0">
                <a:solidFill>
                  <a:srgbClr val="353637"/>
                </a:solidFill>
                <a:latin typeface="Arial" charset="0"/>
              </a:endParaRPr>
            </a:p>
            <a:p>
              <a:pPr>
                <a:defRPr/>
              </a:pPr>
              <a:endParaRPr lang="nb-NO" sz="1600" dirty="0" smtClean="0">
                <a:latin typeface="Arial" charset="0"/>
              </a:endParaRPr>
            </a:p>
          </p:txBody>
        </p:sp>
      </p:grpSp>
      <p:sp>
        <p:nvSpPr>
          <p:cNvPr id="19461" name="Rounded Rectangle 44"/>
          <p:cNvSpPr>
            <a:spLocks noChangeArrowheads="1"/>
          </p:cNvSpPr>
          <p:nvPr/>
        </p:nvSpPr>
        <p:spPr bwMode="auto">
          <a:xfrm rot="16200000" flipH="1">
            <a:off x="1863726" y="3433762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19462" name="Rounded Rectangle 38"/>
          <p:cNvSpPr>
            <a:spLocks noChangeArrowheads="1"/>
          </p:cNvSpPr>
          <p:nvPr/>
        </p:nvSpPr>
        <p:spPr bwMode="auto">
          <a:xfrm rot="16200000" flipH="1">
            <a:off x="1863726" y="2154237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62" name="Round Same Side Corner Rectangle 61"/>
          <p:cNvSpPr/>
          <p:nvPr/>
        </p:nvSpPr>
        <p:spPr>
          <a:xfrm>
            <a:off x="836613" y="319246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65" name="Round Same Side Corner Rectangle 64"/>
          <p:cNvSpPr/>
          <p:nvPr/>
        </p:nvSpPr>
        <p:spPr>
          <a:xfrm>
            <a:off x="836613" y="4473575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9465" name="Rounded Rectangle 27"/>
          <p:cNvSpPr>
            <a:spLocks noChangeArrowheads="1"/>
          </p:cNvSpPr>
          <p:nvPr/>
        </p:nvSpPr>
        <p:spPr bwMode="auto">
          <a:xfrm rot="16200000" flipH="1">
            <a:off x="1863726" y="866775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0" name="Round Same Side Corner Rectangle 79"/>
          <p:cNvSpPr/>
          <p:nvPr/>
        </p:nvSpPr>
        <p:spPr>
          <a:xfrm>
            <a:off x="836613" y="187801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9467" name="Rektangel 76"/>
          <p:cNvSpPr>
            <a:spLocks noChangeArrowheads="1"/>
          </p:cNvSpPr>
          <p:nvPr/>
        </p:nvSpPr>
        <p:spPr bwMode="auto">
          <a:xfrm>
            <a:off x="969963" y="190658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9468" name="Rektangel 76"/>
          <p:cNvSpPr>
            <a:spLocks noChangeArrowheads="1"/>
          </p:cNvSpPr>
          <p:nvPr/>
        </p:nvSpPr>
        <p:spPr bwMode="auto">
          <a:xfrm>
            <a:off x="969963" y="3209925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9469" name="Rektangel 76"/>
          <p:cNvSpPr>
            <a:spLocks noChangeArrowheads="1"/>
          </p:cNvSpPr>
          <p:nvPr/>
        </p:nvSpPr>
        <p:spPr bwMode="auto">
          <a:xfrm>
            <a:off x="969963" y="449103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9470" name="Tekstboks 72"/>
          <p:cNvSpPr txBox="1">
            <a:spLocks noChangeArrowheads="1"/>
          </p:cNvSpPr>
          <p:nvPr/>
        </p:nvSpPr>
        <p:spPr bwMode="auto">
          <a:xfrm>
            <a:off x="1739900" y="2374900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19471" name="Tekstboks 72"/>
          <p:cNvSpPr txBox="1">
            <a:spLocks noChangeArrowheads="1"/>
          </p:cNvSpPr>
          <p:nvPr/>
        </p:nvSpPr>
        <p:spPr bwMode="auto">
          <a:xfrm>
            <a:off x="1739900" y="3660775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19472" name="Tekstboks 72"/>
          <p:cNvSpPr txBox="1">
            <a:spLocks noChangeArrowheads="1"/>
          </p:cNvSpPr>
          <p:nvPr/>
        </p:nvSpPr>
        <p:spPr bwMode="auto">
          <a:xfrm>
            <a:off x="1739900" y="4941888"/>
            <a:ext cx="21240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grpSp>
        <p:nvGrpSpPr>
          <p:cNvPr id="19473" name="Group 44"/>
          <p:cNvGrpSpPr>
            <a:grpSpLocks/>
          </p:cNvGrpSpPr>
          <p:nvPr/>
        </p:nvGrpSpPr>
        <p:grpSpPr bwMode="auto">
          <a:xfrm>
            <a:off x="981075" y="2362200"/>
            <a:ext cx="403225" cy="403225"/>
            <a:chOff x="3294062" y="1631156"/>
            <a:chExt cx="460375" cy="460375"/>
          </a:xfrm>
        </p:grpSpPr>
        <p:sp>
          <p:nvSpPr>
            <p:cNvPr id="88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9481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1</a:t>
              </a:r>
            </a:p>
          </p:txBody>
        </p:sp>
      </p:grpSp>
      <p:grpSp>
        <p:nvGrpSpPr>
          <p:cNvPr id="19474" name="Group 44"/>
          <p:cNvGrpSpPr>
            <a:grpSpLocks/>
          </p:cNvGrpSpPr>
          <p:nvPr/>
        </p:nvGrpSpPr>
        <p:grpSpPr bwMode="auto">
          <a:xfrm>
            <a:off x="981075" y="3660775"/>
            <a:ext cx="403225" cy="403225"/>
            <a:chOff x="3294062" y="1631156"/>
            <a:chExt cx="460375" cy="460375"/>
          </a:xfrm>
        </p:grpSpPr>
        <p:sp>
          <p:nvSpPr>
            <p:cNvPr id="91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9479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2</a:t>
              </a:r>
            </a:p>
          </p:txBody>
        </p:sp>
      </p:grpSp>
      <p:grpSp>
        <p:nvGrpSpPr>
          <p:cNvPr id="19475" name="Group 44"/>
          <p:cNvGrpSpPr>
            <a:grpSpLocks/>
          </p:cNvGrpSpPr>
          <p:nvPr/>
        </p:nvGrpSpPr>
        <p:grpSpPr bwMode="auto">
          <a:xfrm>
            <a:off x="981075" y="4941888"/>
            <a:ext cx="403225" cy="403225"/>
            <a:chOff x="3294062" y="1631156"/>
            <a:chExt cx="460375" cy="460375"/>
          </a:xfrm>
        </p:grpSpPr>
        <p:sp>
          <p:nvSpPr>
            <p:cNvPr id="94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9477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3</a:t>
              </a:r>
            </a:p>
          </p:txBody>
        </p: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7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8286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Group 2"/>
          <p:cNvGrpSpPr>
            <a:grpSpLocks/>
          </p:cNvGrpSpPr>
          <p:nvPr/>
        </p:nvGrpSpPr>
        <p:grpSpPr bwMode="auto">
          <a:xfrm>
            <a:off x="742950" y="1590675"/>
            <a:ext cx="3403600" cy="4229100"/>
            <a:chOff x="2878138" y="963546"/>
            <a:chExt cx="3403600" cy="4229167"/>
          </a:xfrm>
        </p:grpSpPr>
        <p:sp>
          <p:nvSpPr>
            <p:cNvPr id="20506" name="Tekstboks 6"/>
            <p:cNvSpPr txBox="1">
              <a:spLocks noChangeArrowheads="1"/>
            </p:cNvSpPr>
            <p:nvPr/>
          </p:nvSpPr>
          <p:spPr bwMode="auto">
            <a:xfrm>
              <a:off x="3521075" y="3287713"/>
              <a:ext cx="21336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 eaLnBrk="1" hangingPunct="1"/>
              <a:r>
                <a:rPr lang="da-DK" sz="1400" b="1">
                  <a:solidFill>
                    <a:srgbClr val="227088"/>
                  </a:solidFill>
                </a:rPr>
                <a:t>RIVALRY</a:t>
              </a:r>
            </a:p>
          </p:txBody>
        </p:sp>
        <p:sp>
          <p:nvSpPr>
            <p:cNvPr id="8" name="Donut 7"/>
            <p:cNvSpPr>
              <a:spLocks/>
            </p:cNvSpPr>
            <p:nvPr/>
          </p:nvSpPr>
          <p:spPr bwMode="auto">
            <a:xfrm rot="2700000">
              <a:off x="3247211" y="2120080"/>
              <a:ext cx="2678154" cy="2679700"/>
            </a:xfrm>
            <a:custGeom>
              <a:avLst/>
              <a:gdLst>
                <a:gd name="T0" fmla="*/ 0 w 2678113"/>
                <a:gd name="T1" fmla="*/ 1339850 h 2679700"/>
                <a:gd name="T2" fmla="*/ 1339057 w 2678113"/>
                <a:gd name="T3" fmla="*/ 0 h 2679700"/>
                <a:gd name="T4" fmla="*/ 2678114 w 2678113"/>
                <a:gd name="T5" fmla="*/ 1339850 h 2679700"/>
                <a:gd name="T6" fmla="*/ 1339057 w 2678113"/>
                <a:gd name="T7" fmla="*/ 2679700 h 2679700"/>
                <a:gd name="T8" fmla="*/ 0 w 2678113"/>
                <a:gd name="T9" fmla="*/ 1339850 h 2679700"/>
                <a:gd name="T10" fmla="*/ 322123 w 2678113"/>
                <a:gd name="T11" fmla="*/ 1339850 h 2679700"/>
                <a:gd name="T12" fmla="*/ 1339056 w 2678113"/>
                <a:gd name="T13" fmla="*/ 2357577 h 2679700"/>
                <a:gd name="T14" fmla="*/ 2355989 w 2678113"/>
                <a:gd name="T15" fmla="*/ 1339850 h 2679700"/>
                <a:gd name="T16" fmla="*/ 1339056 w 2678113"/>
                <a:gd name="T17" fmla="*/ 322123 h 2679700"/>
                <a:gd name="T18" fmla="*/ 322123 w 2678113"/>
                <a:gd name="T19" fmla="*/ 1339850 h 2679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78113" h="2679700">
                  <a:moveTo>
                    <a:pt x="0" y="1339850"/>
                  </a:moveTo>
                  <a:cubicBezTo>
                    <a:pt x="0" y="599871"/>
                    <a:pt x="599516" y="0"/>
                    <a:pt x="1339057" y="0"/>
                  </a:cubicBezTo>
                  <a:cubicBezTo>
                    <a:pt x="2078598" y="0"/>
                    <a:pt x="2678114" y="599871"/>
                    <a:pt x="2678114" y="1339850"/>
                  </a:cubicBezTo>
                  <a:cubicBezTo>
                    <a:pt x="2678114" y="2079829"/>
                    <a:pt x="2078598" y="2679700"/>
                    <a:pt x="1339057" y="2679700"/>
                  </a:cubicBezTo>
                  <a:cubicBezTo>
                    <a:pt x="599516" y="2679700"/>
                    <a:pt x="0" y="2079829"/>
                    <a:pt x="0" y="1339850"/>
                  </a:cubicBezTo>
                  <a:close/>
                  <a:moveTo>
                    <a:pt x="322123" y="1339850"/>
                  </a:moveTo>
                  <a:cubicBezTo>
                    <a:pt x="322123" y="1901925"/>
                    <a:pt x="777419" y="2357577"/>
                    <a:pt x="1339056" y="2357577"/>
                  </a:cubicBezTo>
                  <a:cubicBezTo>
                    <a:pt x="1900693" y="2357577"/>
                    <a:pt x="2355989" y="1901925"/>
                    <a:pt x="2355989" y="1339850"/>
                  </a:cubicBezTo>
                  <a:cubicBezTo>
                    <a:pt x="2355989" y="777775"/>
                    <a:pt x="1900693" y="322123"/>
                    <a:pt x="1339056" y="322123"/>
                  </a:cubicBezTo>
                  <a:cubicBezTo>
                    <a:pt x="777419" y="322123"/>
                    <a:pt x="322123" y="777775"/>
                    <a:pt x="322123" y="1339850"/>
                  </a:cubicBez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20508" name="Group 67"/>
            <p:cNvGrpSpPr>
              <a:grpSpLocks/>
            </p:cNvGrpSpPr>
            <p:nvPr/>
          </p:nvGrpSpPr>
          <p:grpSpPr bwMode="auto">
            <a:xfrm>
              <a:off x="2878138" y="2911480"/>
              <a:ext cx="1122362" cy="1098550"/>
              <a:chOff x="2590806" y="2443939"/>
              <a:chExt cx="1362074" cy="1334317"/>
            </a:xfrm>
          </p:grpSpPr>
          <p:grpSp>
            <p:nvGrpSpPr>
              <p:cNvPr id="20535" name="Gruppe 83"/>
              <p:cNvGrpSpPr>
                <a:grpSpLocks/>
              </p:cNvGrpSpPr>
              <p:nvPr/>
            </p:nvGrpSpPr>
            <p:grpSpPr bwMode="auto">
              <a:xfrm rot="5400000">
                <a:off x="2604684" y="2430061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14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86000">
                      <a:srgbClr val="2A9B18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5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16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11" name="L-Shape 10"/>
              <p:cNvSpPr/>
              <p:nvPr/>
            </p:nvSpPr>
            <p:spPr>
              <a:xfrm>
                <a:off x="3047400" y="3053212"/>
                <a:ext cx="470079" cy="376005"/>
              </a:xfrm>
              <a:prstGeom prst="corner">
                <a:avLst>
                  <a:gd name="adj1" fmla="val 74088"/>
                  <a:gd name="adj2" fmla="val 340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" name="Cloud 11"/>
              <p:cNvSpPr/>
              <p:nvPr/>
            </p:nvSpPr>
            <p:spPr>
              <a:xfrm rot="2580872">
                <a:off x="3103270" y="2659853"/>
                <a:ext cx="223480" cy="406857"/>
              </a:xfrm>
              <a:prstGeom prst="cloud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20509" name="Group 70"/>
            <p:cNvGrpSpPr>
              <a:grpSpLocks/>
            </p:cNvGrpSpPr>
            <p:nvPr/>
          </p:nvGrpSpPr>
          <p:grpSpPr bwMode="auto">
            <a:xfrm>
              <a:off x="4037013" y="4071938"/>
              <a:ext cx="1098550" cy="1120775"/>
              <a:chOff x="4547783" y="4021788"/>
              <a:chExt cx="1334317" cy="1362074"/>
            </a:xfrm>
          </p:grpSpPr>
          <p:grpSp>
            <p:nvGrpSpPr>
              <p:cNvPr id="20524" name="Gruppe 83"/>
              <p:cNvGrpSpPr>
                <a:grpSpLocks/>
              </p:cNvGrpSpPr>
              <p:nvPr/>
            </p:nvGrpSpPr>
            <p:grpSpPr bwMode="auto">
              <a:xfrm>
                <a:off x="4547783" y="4021788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22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31000">
                      <a:schemeClr val="bg2">
                        <a:alpha val="21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200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23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24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19" name="&quot;No&quot; Symbol 18"/>
              <p:cNvSpPr/>
              <p:nvPr/>
            </p:nvSpPr>
            <p:spPr>
              <a:xfrm>
                <a:off x="4792665" y="4284153"/>
                <a:ext cx="846481" cy="846970"/>
              </a:xfrm>
              <a:prstGeom prst="noSmoking">
                <a:avLst>
                  <a:gd name="adj" fmla="val 14446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chemeClr val="tx1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25" name="Tåre 105"/>
            <p:cNvSpPr/>
            <p:nvPr/>
          </p:nvSpPr>
          <p:spPr bwMode="auto">
            <a:xfrm rot="8100000">
              <a:off x="3689449" y="963546"/>
              <a:ext cx="1809650" cy="1817823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grpSp>
          <p:nvGrpSpPr>
            <p:cNvPr id="20513" name="Group 65"/>
            <p:cNvGrpSpPr>
              <a:grpSpLocks/>
            </p:cNvGrpSpPr>
            <p:nvPr/>
          </p:nvGrpSpPr>
          <p:grpSpPr bwMode="auto">
            <a:xfrm>
              <a:off x="5160963" y="2911478"/>
              <a:ext cx="1120775" cy="1098550"/>
              <a:chOff x="6413505" y="2443937"/>
              <a:chExt cx="1362074" cy="1334317"/>
            </a:xfrm>
          </p:grpSpPr>
          <p:grpSp>
            <p:nvGrpSpPr>
              <p:cNvPr id="20515" name="Gruppe 83"/>
              <p:cNvGrpSpPr>
                <a:grpSpLocks/>
              </p:cNvGrpSpPr>
              <p:nvPr/>
            </p:nvGrpSpPr>
            <p:grpSpPr bwMode="auto">
              <a:xfrm rot="-5400000">
                <a:off x="6427383" y="2430059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31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63000">
                      <a:srgbClr val="CE202A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  <a:reflection stA="25000" endPos="35000" dist="12700" dir="5400000" sy="-100000" algn="bl" rotWithShape="0"/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-128"/>
                    <a:cs typeface="ＭＳ Ｐゴシック" charset="-128"/>
                  </a:endParaRPr>
                </a:p>
              </p:txBody>
            </p:sp>
            <p:sp>
              <p:nvSpPr>
                <p:cNvPr id="32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33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20516" name="Freeform 6"/>
              <p:cNvSpPr>
                <a:spLocks noEditPoints="1"/>
              </p:cNvSpPr>
              <p:nvPr/>
            </p:nvSpPr>
            <p:spPr bwMode="auto">
              <a:xfrm>
                <a:off x="6896100" y="2679700"/>
                <a:ext cx="462364" cy="911224"/>
              </a:xfrm>
              <a:custGeom>
                <a:avLst/>
                <a:gdLst>
                  <a:gd name="T0" fmla="*/ 2147483647 w 1746"/>
                  <a:gd name="T1" fmla="*/ 2147483647 h 3442"/>
                  <a:gd name="T2" fmla="*/ 2147483647 w 1746"/>
                  <a:gd name="T3" fmla="*/ 2147483647 h 3442"/>
                  <a:gd name="T4" fmla="*/ 2147483647 w 1746"/>
                  <a:gd name="T5" fmla="*/ 2147483647 h 3442"/>
                  <a:gd name="T6" fmla="*/ 2147483647 w 1746"/>
                  <a:gd name="T7" fmla="*/ 2147483647 h 3442"/>
                  <a:gd name="T8" fmla="*/ 2147483647 w 1746"/>
                  <a:gd name="T9" fmla="*/ 2147483647 h 3442"/>
                  <a:gd name="T10" fmla="*/ 2147483647 w 1746"/>
                  <a:gd name="T11" fmla="*/ 2147483647 h 3442"/>
                  <a:gd name="T12" fmla="*/ 2147483647 w 1746"/>
                  <a:gd name="T13" fmla="*/ 2147483647 h 3442"/>
                  <a:gd name="T14" fmla="*/ 2147483647 w 1746"/>
                  <a:gd name="T15" fmla="*/ 2147483647 h 3442"/>
                  <a:gd name="T16" fmla="*/ 2147483647 w 1746"/>
                  <a:gd name="T17" fmla="*/ 2147483647 h 3442"/>
                  <a:gd name="T18" fmla="*/ 2147483647 w 1746"/>
                  <a:gd name="T19" fmla="*/ 2147483647 h 3442"/>
                  <a:gd name="T20" fmla="*/ 2147483647 w 1746"/>
                  <a:gd name="T21" fmla="*/ 2147483647 h 3442"/>
                  <a:gd name="T22" fmla="*/ 2147483647 w 1746"/>
                  <a:gd name="T23" fmla="*/ 2147483647 h 3442"/>
                  <a:gd name="T24" fmla="*/ 2147483647 w 1746"/>
                  <a:gd name="T25" fmla="*/ 2147483647 h 3442"/>
                  <a:gd name="T26" fmla="*/ 2147483647 w 1746"/>
                  <a:gd name="T27" fmla="*/ 2147483647 h 3442"/>
                  <a:gd name="T28" fmla="*/ 2147483647 w 1746"/>
                  <a:gd name="T29" fmla="*/ 2147483647 h 3442"/>
                  <a:gd name="T30" fmla="*/ 2147483647 w 1746"/>
                  <a:gd name="T31" fmla="*/ 2147483647 h 3442"/>
                  <a:gd name="T32" fmla="*/ 2147483647 w 1746"/>
                  <a:gd name="T33" fmla="*/ 2147483647 h 3442"/>
                  <a:gd name="T34" fmla="*/ 2147483647 w 1746"/>
                  <a:gd name="T35" fmla="*/ 2147483647 h 3442"/>
                  <a:gd name="T36" fmla="*/ 2147483647 w 1746"/>
                  <a:gd name="T37" fmla="*/ 2147483647 h 3442"/>
                  <a:gd name="T38" fmla="*/ 0 w 1746"/>
                  <a:gd name="T39" fmla="*/ 2147483647 h 3442"/>
                  <a:gd name="T40" fmla="*/ 2147483647 w 1746"/>
                  <a:gd name="T41" fmla="*/ 2147483647 h 3442"/>
                  <a:gd name="T42" fmla="*/ 2147483647 w 1746"/>
                  <a:gd name="T43" fmla="*/ 2147483647 h 3442"/>
                  <a:gd name="T44" fmla="*/ 2147483647 w 1746"/>
                  <a:gd name="T45" fmla="*/ 2147483647 h 3442"/>
                  <a:gd name="T46" fmla="*/ 2147483647 w 1746"/>
                  <a:gd name="T47" fmla="*/ 2147483647 h 3442"/>
                  <a:gd name="T48" fmla="*/ 2147483647 w 1746"/>
                  <a:gd name="T49" fmla="*/ 2147483647 h 3442"/>
                  <a:gd name="T50" fmla="*/ 2147483647 w 1746"/>
                  <a:gd name="T51" fmla="*/ 2147483647 h 3442"/>
                  <a:gd name="T52" fmla="*/ 2147483647 w 1746"/>
                  <a:gd name="T53" fmla="*/ 2147483647 h 3442"/>
                  <a:gd name="T54" fmla="*/ 2147483647 w 1746"/>
                  <a:gd name="T55" fmla="*/ 2147483647 h 3442"/>
                  <a:gd name="T56" fmla="*/ 2147483647 w 1746"/>
                  <a:gd name="T57" fmla="*/ 2147483647 h 3442"/>
                  <a:gd name="T58" fmla="*/ 2147483647 w 1746"/>
                  <a:gd name="T59" fmla="*/ 2147483647 h 3442"/>
                  <a:gd name="T60" fmla="*/ 2147483647 w 1746"/>
                  <a:gd name="T61" fmla="*/ 2147483647 h 3442"/>
                  <a:gd name="T62" fmla="*/ 2147483647 w 1746"/>
                  <a:gd name="T63" fmla="*/ 2147483647 h 3442"/>
                  <a:gd name="T64" fmla="*/ 2147483647 w 1746"/>
                  <a:gd name="T65" fmla="*/ 2147483647 h 3442"/>
                  <a:gd name="T66" fmla="*/ 2147483647 w 1746"/>
                  <a:gd name="T67" fmla="*/ 2147483647 h 3442"/>
                  <a:gd name="T68" fmla="*/ 2147483647 w 1746"/>
                  <a:gd name="T69" fmla="*/ 2147483647 h 3442"/>
                  <a:gd name="T70" fmla="*/ 2147483647 w 1746"/>
                  <a:gd name="T71" fmla="*/ 2147483647 h 3442"/>
                  <a:gd name="T72" fmla="*/ 2147483647 w 1746"/>
                  <a:gd name="T73" fmla="*/ 2147483647 h 3442"/>
                  <a:gd name="T74" fmla="*/ 2147483647 w 1746"/>
                  <a:gd name="T75" fmla="*/ 2147483647 h 3442"/>
                  <a:gd name="T76" fmla="*/ 2147483647 w 1746"/>
                  <a:gd name="T77" fmla="*/ 2147483647 h 3442"/>
                  <a:gd name="T78" fmla="*/ 2147483647 w 1746"/>
                  <a:gd name="T79" fmla="*/ 2147483647 h 3442"/>
                  <a:gd name="T80" fmla="*/ 2147483647 w 1746"/>
                  <a:gd name="T81" fmla="*/ 2147483647 h 3442"/>
                  <a:gd name="T82" fmla="*/ 2147483647 w 1746"/>
                  <a:gd name="T83" fmla="*/ 2147483647 h 3442"/>
                  <a:gd name="T84" fmla="*/ 2147483647 w 1746"/>
                  <a:gd name="T85" fmla="*/ 2147483647 h 3442"/>
                  <a:gd name="T86" fmla="*/ 2147483647 w 1746"/>
                  <a:gd name="T87" fmla="*/ 2147483647 h 3442"/>
                  <a:gd name="T88" fmla="*/ 2147483647 w 1746"/>
                  <a:gd name="T89" fmla="*/ 2147483647 h 3442"/>
                  <a:gd name="T90" fmla="*/ 2147483647 w 1746"/>
                  <a:gd name="T91" fmla="*/ 2147483647 h 3442"/>
                  <a:gd name="T92" fmla="*/ 2147483647 w 1746"/>
                  <a:gd name="T93" fmla="*/ 2147483647 h 3442"/>
                  <a:gd name="T94" fmla="*/ 2147483647 w 1746"/>
                  <a:gd name="T95" fmla="*/ 2147483647 h 3442"/>
                  <a:gd name="T96" fmla="*/ 2147483647 w 1746"/>
                  <a:gd name="T97" fmla="*/ 2147483647 h 3442"/>
                  <a:gd name="T98" fmla="*/ 2147483647 w 1746"/>
                  <a:gd name="T99" fmla="*/ 2147483647 h 3442"/>
                  <a:gd name="T100" fmla="*/ 2147483647 w 1746"/>
                  <a:gd name="T101" fmla="*/ 2147483647 h 3442"/>
                  <a:gd name="T102" fmla="*/ 2147483647 w 1746"/>
                  <a:gd name="T103" fmla="*/ 2147483647 h 3442"/>
                  <a:gd name="T104" fmla="*/ 2147483647 w 1746"/>
                  <a:gd name="T105" fmla="*/ 2147483647 h 3442"/>
                  <a:gd name="T106" fmla="*/ 2147483647 w 1746"/>
                  <a:gd name="T107" fmla="*/ 2147483647 h 3442"/>
                  <a:gd name="T108" fmla="*/ 2147483647 w 1746"/>
                  <a:gd name="T109" fmla="*/ 2147483647 h 3442"/>
                  <a:gd name="T110" fmla="*/ 2147483647 w 1746"/>
                  <a:gd name="T111" fmla="*/ 2147483647 h 3442"/>
                  <a:gd name="T112" fmla="*/ 2147483647 w 1746"/>
                  <a:gd name="T113" fmla="*/ 2147483647 h 3442"/>
                  <a:gd name="T114" fmla="*/ 2147483647 w 1746"/>
                  <a:gd name="T115" fmla="*/ 2147483647 h 3442"/>
                  <a:gd name="T116" fmla="*/ 2147483647 w 1746"/>
                  <a:gd name="T117" fmla="*/ 2147483647 h 3442"/>
                  <a:gd name="T118" fmla="*/ 2147483647 w 1746"/>
                  <a:gd name="T119" fmla="*/ 2147483647 h 344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746"/>
                  <a:gd name="T181" fmla="*/ 0 h 3442"/>
                  <a:gd name="T182" fmla="*/ 1746 w 1746"/>
                  <a:gd name="T183" fmla="*/ 3442 h 344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746" h="3442">
                    <a:moveTo>
                      <a:pt x="1746" y="1446"/>
                    </a:moveTo>
                    <a:lnTo>
                      <a:pt x="1746" y="1446"/>
                    </a:lnTo>
                    <a:lnTo>
                      <a:pt x="1746" y="1392"/>
                    </a:lnTo>
                    <a:lnTo>
                      <a:pt x="1746" y="1266"/>
                    </a:lnTo>
                    <a:lnTo>
                      <a:pt x="1744" y="1240"/>
                    </a:lnTo>
                    <a:lnTo>
                      <a:pt x="1738" y="1214"/>
                    </a:lnTo>
                    <a:lnTo>
                      <a:pt x="1714" y="1146"/>
                    </a:lnTo>
                    <a:lnTo>
                      <a:pt x="1706" y="1120"/>
                    </a:lnTo>
                    <a:lnTo>
                      <a:pt x="1702" y="1094"/>
                    </a:lnTo>
                    <a:lnTo>
                      <a:pt x="1694" y="1002"/>
                    </a:lnTo>
                    <a:lnTo>
                      <a:pt x="1688" y="948"/>
                    </a:lnTo>
                    <a:lnTo>
                      <a:pt x="1670" y="822"/>
                    </a:lnTo>
                    <a:lnTo>
                      <a:pt x="1668" y="794"/>
                    </a:lnTo>
                    <a:lnTo>
                      <a:pt x="1666" y="766"/>
                    </a:lnTo>
                    <a:lnTo>
                      <a:pt x="1666" y="738"/>
                    </a:lnTo>
                    <a:lnTo>
                      <a:pt x="1664" y="714"/>
                    </a:lnTo>
                    <a:lnTo>
                      <a:pt x="1662" y="704"/>
                    </a:lnTo>
                    <a:lnTo>
                      <a:pt x="1658" y="696"/>
                    </a:lnTo>
                    <a:lnTo>
                      <a:pt x="1648" y="686"/>
                    </a:lnTo>
                    <a:lnTo>
                      <a:pt x="1636" y="678"/>
                    </a:lnTo>
                    <a:lnTo>
                      <a:pt x="1616" y="668"/>
                    </a:lnTo>
                    <a:lnTo>
                      <a:pt x="1602" y="660"/>
                    </a:lnTo>
                    <a:lnTo>
                      <a:pt x="1582" y="652"/>
                    </a:lnTo>
                    <a:lnTo>
                      <a:pt x="1426" y="588"/>
                    </a:lnTo>
                    <a:lnTo>
                      <a:pt x="1416" y="582"/>
                    </a:lnTo>
                    <a:lnTo>
                      <a:pt x="1406" y="574"/>
                    </a:lnTo>
                    <a:lnTo>
                      <a:pt x="1398" y="564"/>
                    </a:lnTo>
                    <a:lnTo>
                      <a:pt x="1394" y="554"/>
                    </a:lnTo>
                    <a:lnTo>
                      <a:pt x="1392" y="542"/>
                    </a:lnTo>
                    <a:lnTo>
                      <a:pt x="1394" y="532"/>
                    </a:lnTo>
                    <a:lnTo>
                      <a:pt x="1396" y="524"/>
                    </a:lnTo>
                    <a:lnTo>
                      <a:pt x="1402" y="516"/>
                    </a:lnTo>
                    <a:lnTo>
                      <a:pt x="1416" y="500"/>
                    </a:lnTo>
                    <a:lnTo>
                      <a:pt x="1430" y="480"/>
                    </a:lnTo>
                    <a:lnTo>
                      <a:pt x="1442" y="458"/>
                    </a:lnTo>
                    <a:lnTo>
                      <a:pt x="1448" y="446"/>
                    </a:lnTo>
                    <a:lnTo>
                      <a:pt x="1452" y="432"/>
                    </a:lnTo>
                    <a:lnTo>
                      <a:pt x="1456" y="418"/>
                    </a:lnTo>
                    <a:lnTo>
                      <a:pt x="1460" y="406"/>
                    </a:lnTo>
                    <a:lnTo>
                      <a:pt x="1468" y="340"/>
                    </a:lnTo>
                    <a:lnTo>
                      <a:pt x="1470" y="312"/>
                    </a:lnTo>
                    <a:lnTo>
                      <a:pt x="1472" y="286"/>
                    </a:lnTo>
                    <a:lnTo>
                      <a:pt x="1472" y="266"/>
                    </a:lnTo>
                    <a:lnTo>
                      <a:pt x="1470" y="244"/>
                    </a:lnTo>
                    <a:lnTo>
                      <a:pt x="1466" y="234"/>
                    </a:lnTo>
                    <a:lnTo>
                      <a:pt x="1464" y="228"/>
                    </a:lnTo>
                    <a:lnTo>
                      <a:pt x="1456" y="214"/>
                    </a:lnTo>
                    <a:lnTo>
                      <a:pt x="1448" y="198"/>
                    </a:lnTo>
                    <a:lnTo>
                      <a:pt x="1440" y="182"/>
                    </a:lnTo>
                    <a:lnTo>
                      <a:pt x="1430" y="168"/>
                    </a:lnTo>
                    <a:lnTo>
                      <a:pt x="1416" y="156"/>
                    </a:lnTo>
                    <a:lnTo>
                      <a:pt x="1402" y="148"/>
                    </a:lnTo>
                    <a:lnTo>
                      <a:pt x="1366" y="138"/>
                    </a:lnTo>
                    <a:lnTo>
                      <a:pt x="1356" y="136"/>
                    </a:lnTo>
                    <a:lnTo>
                      <a:pt x="1344" y="136"/>
                    </a:lnTo>
                    <a:lnTo>
                      <a:pt x="1332" y="140"/>
                    </a:lnTo>
                    <a:lnTo>
                      <a:pt x="1320" y="142"/>
                    </a:lnTo>
                    <a:lnTo>
                      <a:pt x="1316" y="144"/>
                    </a:lnTo>
                    <a:lnTo>
                      <a:pt x="1266" y="168"/>
                    </a:lnTo>
                    <a:lnTo>
                      <a:pt x="1246" y="178"/>
                    </a:lnTo>
                    <a:lnTo>
                      <a:pt x="1236" y="184"/>
                    </a:lnTo>
                    <a:lnTo>
                      <a:pt x="1226" y="192"/>
                    </a:lnTo>
                    <a:lnTo>
                      <a:pt x="1218" y="202"/>
                    </a:lnTo>
                    <a:lnTo>
                      <a:pt x="1214" y="210"/>
                    </a:lnTo>
                    <a:lnTo>
                      <a:pt x="1196" y="254"/>
                    </a:lnTo>
                    <a:lnTo>
                      <a:pt x="1188" y="274"/>
                    </a:lnTo>
                    <a:lnTo>
                      <a:pt x="1180" y="294"/>
                    </a:lnTo>
                    <a:lnTo>
                      <a:pt x="1176" y="298"/>
                    </a:lnTo>
                    <a:lnTo>
                      <a:pt x="1174" y="300"/>
                    </a:lnTo>
                    <a:lnTo>
                      <a:pt x="1168" y="302"/>
                    </a:lnTo>
                    <a:lnTo>
                      <a:pt x="1166" y="306"/>
                    </a:lnTo>
                    <a:lnTo>
                      <a:pt x="1164" y="316"/>
                    </a:lnTo>
                    <a:lnTo>
                      <a:pt x="1160" y="330"/>
                    </a:lnTo>
                    <a:lnTo>
                      <a:pt x="1156" y="340"/>
                    </a:lnTo>
                    <a:lnTo>
                      <a:pt x="1156" y="348"/>
                    </a:lnTo>
                    <a:lnTo>
                      <a:pt x="1156" y="358"/>
                    </a:lnTo>
                    <a:lnTo>
                      <a:pt x="1160" y="368"/>
                    </a:lnTo>
                    <a:lnTo>
                      <a:pt x="1164" y="382"/>
                    </a:lnTo>
                    <a:lnTo>
                      <a:pt x="1166" y="392"/>
                    </a:lnTo>
                    <a:lnTo>
                      <a:pt x="1168" y="392"/>
                    </a:lnTo>
                    <a:lnTo>
                      <a:pt x="1170" y="394"/>
                    </a:lnTo>
                    <a:lnTo>
                      <a:pt x="1180" y="392"/>
                    </a:lnTo>
                    <a:lnTo>
                      <a:pt x="1186" y="390"/>
                    </a:lnTo>
                    <a:lnTo>
                      <a:pt x="1190" y="396"/>
                    </a:lnTo>
                    <a:lnTo>
                      <a:pt x="1192" y="402"/>
                    </a:lnTo>
                    <a:lnTo>
                      <a:pt x="1194" y="412"/>
                    </a:lnTo>
                    <a:lnTo>
                      <a:pt x="1194" y="440"/>
                    </a:lnTo>
                    <a:lnTo>
                      <a:pt x="1192" y="452"/>
                    </a:lnTo>
                    <a:lnTo>
                      <a:pt x="1190" y="464"/>
                    </a:lnTo>
                    <a:lnTo>
                      <a:pt x="1186" y="476"/>
                    </a:lnTo>
                    <a:lnTo>
                      <a:pt x="1180" y="486"/>
                    </a:lnTo>
                    <a:lnTo>
                      <a:pt x="1152" y="522"/>
                    </a:lnTo>
                    <a:lnTo>
                      <a:pt x="1136" y="540"/>
                    </a:lnTo>
                    <a:lnTo>
                      <a:pt x="1114" y="556"/>
                    </a:lnTo>
                    <a:lnTo>
                      <a:pt x="1106" y="562"/>
                    </a:lnTo>
                    <a:lnTo>
                      <a:pt x="1082" y="576"/>
                    </a:lnTo>
                    <a:lnTo>
                      <a:pt x="1056" y="586"/>
                    </a:lnTo>
                    <a:lnTo>
                      <a:pt x="970" y="616"/>
                    </a:lnTo>
                    <a:lnTo>
                      <a:pt x="958" y="618"/>
                    </a:lnTo>
                    <a:lnTo>
                      <a:pt x="944" y="620"/>
                    </a:lnTo>
                    <a:lnTo>
                      <a:pt x="930" y="618"/>
                    </a:lnTo>
                    <a:lnTo>
                      <a:pt x="918" y="614"/>
                    </a:lnTo>
                    <a:lnTo>
                      <a:pt x="844" y="578"/>
                    </a:lnTo>
                    <a:lnTo>
                      <a:pt x="794" y="554"/>
                    </a:lnTo>
                    <a:lnTo>
                      <a:pt x="732" y="528"/>
                    </a:lnTo>
                    <a:lnTo>
                      <a:pt x="708" y="518"/>
                    </a:lnTo>
                    <a:lnTo>
                      <a:pt x="680" y="510"/>
                    </a:lnTo>
                    <a:lnTo>
                      <a:pt x="632" y="498"/>
                    </a:lnTo>
                    <a:lnTo>
                      <a:pt x="622" y="494"/>
                    </a:lnTo>
                    <a:lnTo>
                      <a:pt x="612" y="488"/>
                    </a:lnTo>
                    <a:lnTo>
                      <a:pt x="604" y="478"/>
                    </a:lnTo>
                    <a:lnTo>
                      <a:pt x="598" y="468"/>
                    </a:lnTo>
                    <a:lnTo>
                      <a:pt x="586" y="450"/>
                    </a:lnTo>
                    <a:lnTo>
                      <a:pt x="578" y="440"/>
                    </a:lnTo>
                    <a:lnTo>
                      <a:pt x="574" y="434"/>
                    </a:lnTo>
                    <a:lnTo>
                      <a:pt x="572" y="426"/>
                    </a:lnTo>
                    <a:lnTo>
                      <a:pt x="570" y="406"/>
                    </a:lnTo>
                    <a:lnTo>
                      <a:pt x="570" y="340"/>
                    </a:lnTo>
                    <a:lnTo>
                      <a:pt x="572" y="328"/>
                    </a:lnTo>
                    <a:lnTo>
                      <a:pt x="574" y="314"/>
                    </a:lnTo>
                    <a:lnTo>
                      <a:pt x="578" y="300"/>
                    </a:lnTo>
                    <a:lnTo>
                      <a:pt x="584" y="288"/>
                    </a:lnTo>
                    <a:lnTo>
                      <a:pt x="588" y="278"/>
                    </a:lnTo>
                    <a:lnTo>
                      <a:pt x="594" y="264"/>
                    </a:lnTo>
                    <a:lnTo>
                      <a:pt x="596" y="252"/>
                    </a:lnTo>
                    <a:lnTo>
                      <a:pt x="596" y="240"/>
                    </a:lnTo>
                    <a:lnTo>
                      <a:pt x="596" y="210"/>
                    </a:lnTo>
                    <a:lnTo>
                      <a:pt x="596" y="206"/>
                    </a:lnTo>
                    <a:lnTo>
                      <a:pt x="594" y="204"/>
                    </a:lnTo>
                    <a:lnTo>
                      <a:pt x="584" y="196"/>
                    </a:lnTo>
                    <a:lnTo>
                      <a:pt x="578" y="192"/>
                    </a:lnTo>
                    <a:lnTo>
                      <a:pt x="572" y="184"/>
                    </a:lnTo>
                    <a:lnTo>
                      <a:pt x="568" y="176"/>
                    </a:lnTo>
                    <a:lnTo>
                      <a:pt x="566" y="164"/>
                    </a:lnTo>
                    <a:lnTo>
                      <a:pt x="560" y="146"/>
                    </a:lnTo>
                    <a:lnTo>
                      <a:pt x="548" y="94"/>
                    </a:lnTo>
                    <a:lnTo>
                      <a:pt x="540" y="72"/>
                    </a:lnTo>
                    <a:lnTo>
                      <a:pt x="528" y="52"/>
                    </a:lnTo>
                    <a:lnTo>
                      <a:pt x="516" y="38"/>
                    </a:lnTo>
                    <a:lnTo>
                      <a:pt x="510" y="34"/>
                    </a:lnTo>
                    <a:lnTo>
                      <a:pt x="506" y="34"/>
                    </a:lnTo>
                    <a:lnTo>
                      <a:pt x="498" y="32"/>
                    </a:lnTo>
                    <a:lnTo>
                      <a:pt x="486" y="28"/>
                    </a:lnTo>
                    <a:lnTo>
                      <a:pt x="476" y="24"/>
                    </a:lnTo>
                    <a:lnTo>
                      <a:pt x="466" y="22"/>
                    </a:lnTo>
                    <a:lnTo>
                      <a:pt x="454" y="20"/>
                    </a:lnTo>
                    <a:lnTo>
                      <a:pt x="438" y="10"/>
                    </a:lnTo>
                    <a:lnTo>
                      <a:pt x="428" y="6"/>
                    </a:lnTo>
                    <a:lnTo>
                      <a:pt x="416" y="2"/>
                    </a:lnTo>
                    <a:lnTo>
                      <a:pt x="404" y="0"/>
                    </a:lnTo>
                    <a:lnTo>
                      <a:pt x="390" y="0"/>
                    </a:lnTo>
                    <a:lnTo>
                      <a:pt x="388" y="0"/>
                    </a:lnTo>
                    <a:lnTo>
                      <a:pt x="348" y="0"/>
                    </a:lnTo>
                    <a:lnTo>
                      <a:pt x="332" y="2"/>
                    </a:lnTo>
                    <a:lnTo>
                      <a:pt x="314" y="10"/>
                    </a:lnTo>
                    <a:lnTo>
                      <a:pt x="292" y="24"/>
                    </a:lnTo>
                    <a:lnTo>
                      <a:pt x="272" y="40"/>
                    </a:lnTo>
                    <a:lnTo>
                      <a:pt x="252" y="58"/>
                    </a:lnTo>
                    <a:lnTo>
                      <a:pt x="238" y="76"/>
                    </a:lnTo>
                    <a:lnTo>
                      <a:pt x="228" y="94"/>
                    </a:lnTo>
                    <a:lnTo>
                      <a:pt x="226" y="100"/>
                    </a:lnTo>
                    <a:lnTo>
                      <a:pt x="224" y="106"/>
                    </a:lnTo>
                    <a:lnTo>
                      <a:pt x="222" y="120"/>
                    </a:lnTo>
                    <a:lnTo>
                      <a:pt x="216" y="136"/>
                    </a:lnTo>
                    <a:lnTo>
                      <a:pt x="214" y="146"/>
                    </a:lnTo>
                    <a:lnTo>
                      <a:pt x="212" y="158"/>
                    </a:lnTo>
                    <a:lnTo>
                      <a:pt x="212" y="170"/>
                    </a:lnTo>
                    <a:lnTo>
                      <a:pt x="214" y="182"/>
                    </a:lnTo>
                    <a:lnTo>
                      <a:pt x="220" y="224"/>
                    </a:lnTo>
                    <a:lnTo>
                      <a:pt x="224" y="250"/>
                    </a:lnTo>
                    <a:lnTo>
                      <a:pt x="224" y="276"/>
                    </a:lnTo>
                    <a:lnTo>
                      <a:pt x="226" y="298"/>
                    </a:lnTo>
                    <a:lnTo>
                      <a:pt x="230" y="318"/>
                    </a:lnTo>
                    <a:lnTo>
                      <a:pt x="240" y="334"/>
                    </a:lnTo>
                    <a:lnTo>
                      <a:pt x="250" y="348"/>
                    </a:lnTo>
                    <a:lnTo>
                      <a:pt x="262" y="362"/>
                    </a:lnTo>
                    <a:lnTo>
                      <a:pt x="272" y="378"/>
                    </a:lnTo>
                    <a:lnTo>
                      <a:pt x="282" y="398"/>
                    </a:lnTo>
                    <a:lnTo>
                      <a:pt x="298" y="418"/>
                    </a:lnTo>
                    <a:lnTo>
                      <a:pt x="304" y="424"/>
                    </a:lnTo>
                    <a:lnTo>
                      <a:pt x="310" y="434"/>
                    </a:lnTo>
                    <a:lnTo>
                      <a:pt x="316" y="446"/>
                    </a:lnTo>
                    <a:lnTo>
                      <a:pt x="320" y="460"/>
                    </a:lnTo>
                    <a:lnTo>
                      <a:pt x="322" y="472"/>
                    </a:lnTo>
                    <a:lnTo>
                      <a:pt x="322" y="502"/>
                    </a:lnTo>
                    <a:lnTo>
                      <a:pt x="320" y="526"/>
                    </a:lnTo>
                    <a:lnTo>
                      <a:pt x="318" y="538"/>
                    </a:lnTo>
                    <a:lnTo>
                      <a:pt x="314" y="548"/>
                    </a:lnTo>
                    <a:lnTo>
                      <a:pt x="308" y="556"/>
                    </a:lnTo>
                    <a:lnTo>
                      <a:pt x="300" y="564"/>
                    </a:lnTo>
                    <a:lnTo>
                      <a:pt x="292" y="570"/>
                    </a:lnTo>
                    <a:lnTo>
                      <a:pt x="280" y="576"/>
                    </a:lnTo>
                    <a:lnTo>
                      <a:pt x="220" y="602"/>
                    </a:lnTo>
                    <a:lnTo>
                      <a:pt x="200" y="610"/>
                    </a:lnTo>
                    <a:lnTo>
                      <a:pt x="190" y="614"/>
                    </a:lnTo>
                    <a:lnTo>
                      <a:pt x="178" y="618"/>
                    </a:lnTo>
                    <a:lnTo>
                      <a:pt x="160" y="628"/>
                    </a:lnTo>
                    <a:lnTo>
                      <a:pt x="150" y="634"/>
                    </a:lnTo>
                    <a:lnTo>
                      <a:pt x="128" y="652"/>
                    </a:lnTo>
                    <a:lnTo>
                      <a:pt x="110" y="670"/>
                    </a:lnTo>
                    <a:lnTo>
                      <a:pt x="104" y="678"/>
                    </a:lnTo>
                    <a:lnTo>
                      <a:pt x="86" y="696"/>
                    </a:lnTo>
                    <a:lnTo>
                      <a:pt x="70" y="710"/>
                    </a:lnTo>
                    <a:lnTo>
                      <a:pt x="66" y="716"/>
                    </a:lnTo>
                    <a:lnTo>
                      <a:pt x="60" y="724"/>
                    </a:lnTo>
                    <a:lnTo>
                      <a:pt x="58" y="732"/>
                    </a:lnTo>
                    <a:lnTo>
                      <a:pt x="56" y="740"/>
                    </a:lnTo>
                    <a:lnTo>
                      <a:pt x="56" y="786"/>
                    </a:lnTo>
                    <a:lnTo>
                      <a:pt x="56" y="802"/>
                    </a:lnTo>
                    <a:lnTo>
                      <a:pt x="58" y="858"/>
                    </a:lnTo>
                    <a:lnTo>
                      <a:pt x="70" y="958"/>
                    </a:lnTo>
                    <a:lnTo>
                      <a:pt x="70" y="986"/>
                    </a:lnTo>
                    <a:lnTo>
                      <a:pt x="68" y="1014"/>
                    </a:lnTo>
                    <a:lnTo>
                      <a:pt x="48" y="1116"/>
                    </a:lnTo>
                    <a:lnTo>
                      <a:pt x="38" y="1170"/>
                    </a:lnTo>
                    <a:lnTo>
                      <a:pt x="6" y="1344"/>
                    </a:lnTo>
                    <a:lnTo>
                      <a:pt x="2" y="1370"/>
                    </a:lnTo>
                    <a:lnTo>
                      <a:pt x="0" y="1396"/>
                    </a:lnTo>
                    <a:lnTo>
                      <a:pt x="0" y="1444"/>
                    </a:lnTo>
                    <a:lnTo>
                      <a:pt x="2" y="1470"/>
                    </a:lnTo>
                    <a:lnTo>
                      <a:pt x="8" y="1494"/>
                    </a:lnTo>
                    <a:lnTo>
                      <a:pt x="16" y="1518"/>
                    </a:lnTo>
                    <a:lnTo>
                      <a:pt x="28" y="1542"/>
                    </a:lnTo>
                    <a:lnTo>
                      <a:pt x="30" y="1542"/>
                    </a:lnTo>
                    <a:lnTo>
                      <a:pt x="60" y="1588"/>
                    </a:lnTo>
                    <a:lnTo>
                      <a:pt x="70" y="1602"/>
                    </a:lnTo>
                    <a:lnTo>
                      <a:pt x="76" y="1614"/>
                    </a:lnTo>
                    <a:lnTo>
                      <a:pt x="82" y="1626"/>
                    </a:lnTo>
                    <a:lnTo>
                      <a:pt x="88" y="1640"/>
                    </a:lnTo>
                    <a:lnTo>
                      <a:pt x="90" y="1652"/>
                    </a:lnTo>
                    <a:lnTo>
                      <a:pt x="92" y="1660"/>
                    </a:lnTo>
                    <a:lnTo>
                      <a:pt x="96" y="1688"/>
                    </a:lnTo>
                    <a:lnTo>
                      <a:pt x="98" y="1714"/>
                    </a:lnTo>
                    <a:lnTo>
                      <a:pt x="98" y="1804"/>
                    </a:lnTo>
                    <a:lnTo>
                      <a:pt x="100" y="1830"/>
                    </a:lnTo>
                    <a:lnTo>
                      <a:pt x="104" y="1858"/>
                    </a:lnTo>
                    <a:lnTo>
                      <a:pt x="120" y="1924"/>
                    </a:lnTo>
                    <a:lnTo>
                      <a:pt x="132" y="1978"/>
                    </a:lnTo>
                    <a:lnTo>
                      <a:pt x="136" y="1996"/>
                    </a:lnTo>
                    <a:lnTo>
                      <a:pt x="138" y="2022"/>
                    </a:lnTo>
                    <a:lnTo>
                      <a:pt x="140" y="2050"/>
                    </a:lnTo>
                    <a:lnTo>
                      <a:pt x="140" y="2056"/>
                    </a:lnTo>
                    <a:lnTo>
                      <a:pt x="140" y="2102"/>
                    </a:lnTo>
                    <a:lnTo>
                      <a:pt x="142" y="2124"/>
                    </a:lnTo>
                    <a:lnTo>
                      <a:pt x="144" y="2148"/>
                    </a:lnTo>
                    <a:lnTo>
                      <a:pt x="164" y="2262"/>
                    </a:lnTo>
                    <a:lnTo>
                      <a:pt x="172" y="2318"/>
                    </a:lnTo>
                    <a:lnTo>
                      <a:pt x="180" y="2418"/>
                    </a:lnTo>
                    <a:lnTo>
                      <a:pt x="184" y="2472"/>
                    </a:lnTo>
                    <a:lnTo>
                      <a:pt x="194" y="2660"/>
                    </a:lnTo>
                    <a:lnTo>
                      <a:pt x="198" y="2686"/>
                    </a:lnTo>
                    <a:lnTo>
                      <a:pt x="206" y="2712"/>
                    </a:lnTo>
                    <a:lnTo>
                      <a:pt x="254" y="2842"/>
                    </a:lnTo>
                    <a:lnTo>
                      <a:pt x="256" y="2854"/>
                    </a:lnTo>
                    <a:lnTo>
                      <a:pt x="258" y="2868"/>
                    </a:lnTo>
                    <a:lnTo>
                      <a:pt x="256" y="2880"/>
                    </a:lnTo>
                    <a:lnTo>
                      <a:pt x="254" y="2892"/>
                    </a:lnTo>
                    <a:lnTo>
                      <a:pt x="234" y="2938"/>
                    </a:lnTo>
                    <a:lnTo>
                      <a:pt x="222" y="2962"/>
                    </a:lnTo>
                    <a:lnTo>
                      <a:pt x="206" y="2984"/>
                    </a:lnTo>
                    <a:lnTo>
                      <a:pt x="200" y="2990"/>
                    </a:lnTo>
                    <a:lnTo>
                      <a:pt x="194" y="3000"/>
                    </a:lnTo>
                    <a:lnTo>
                      <a:pt x="188" y="3014"/>
                    </a:lnTo>
                    <a:lnTo>
                      <a:pt x="184" y="3026"/>
                    </a:lnTo>
                    <a:lnTo>
                      <a:pt x="182" y="3038"/>
                    </a:lnTo>
                    <a:lnTo>
                      <a:pt x="182" y="3094"/>
                    </a:lnTo>
                    <a:lnTo>
                      <a:pt x="184" y="3104"/>
                    </a:lnTo>
                    <a:lnTo>
                      <a:pt x="190" y="3114"/>
                    </a:lnTo>
                    <a:lnTo>
                      <a:pt x="200" y="3120"/>
                    </a:lnTo>
                    <a:lnTo>
                      <a:pt x="210" y="3124"/>
                    </a:lnTo>
                    <a:lnTo>
                      <a:pt x="252" y="3128"/>
                    </a:lnTo>
                    <a:lnTo>
                      <a:pt x="264" y="3128"/>
                    </a:lnTo>
                    <a:lnTo>
                      <a:pt x="278" y="3126"/>
                    </a:lnTo>
                    <a:lnTo>
                      <a:pt x="290" y="3120"/>
                    </a:lnTo>
                    <a:lnTo>
                      <a:pt x="300" y="3114"/>
                    </a:lnTo>
                    <a:lnTo>
                      <a:pt x="314" y="3102"/>
                    </a:lnTo>
                    <a:lnTo>
                      <a:pt x="348" y="3072"/>
                    </a:lnTo>
                    <a:lnTo>
                      <a:pt x="360" y="3060"/>
                    </a:lnTo>
                    <a:lnTo>
                      <a:pt x="368" y="3048"/>
                    </a:lnTo>
                    <a:lnTo>
                      <a:pt x="372" y="3042"/>
                    </a:lnTo>
                    <a:lnTo>
                      <a:pt x="374" y="3034"/>
                    </a:lnTo>
                    <a:lnTo>
                      <a:pt x="376" y="3018"/>
                    </a:lnTo>
                    <a:lnTo>
                      <a:pt x="378" y="3000"/>
                    </a:lnTo>
                    <a:lnTo>
                      <a:pt x="384" y="2982"/>
                    </a:lnTo>
                    <a:lnTo>
                      <a:pt x="390" y="2968"/>
                    </a:lnTo>
                    <a:lnTo>
                      <a:pt x="394" y="2964"/>
                    </a:lnTo>
                    <a:lnTo>
                      <a:pt x="396" y="2964"/>
                    </a:lnTo>
                    <a:lnTo>
                      <a:pt x="406" y="2958"/>
                    </a:lnTo>
                    <a:lnTo>
                      <a:pt x="424" y="2946"/>
                    </a:lnTo>
                    <a:lnTo>
                      <a:pt x="424" y="2944"/>
                    </a:lnTo>
                    <a:lnTo>
                      <a:pt x="432" y="2936"/>
                    </a:lnTo>
                    <a:lnTo>
                      <a:pt x="440" y="2926"/>
                    </a:lnTo>
                    <a:lnTo>
                      <a:pt x="448" y="2914"/>
                    </a:lnTo>
                    <a:lnTo>
                      <a:pt x="452" y="2902"/>
                    </a:lnTo>
                    <a:lnTo>
                      <a:pt x="454" y="2892"/>
                    </a:lnTo>
                    <a:lnTo>
                      <a:pt x="452" y="2878"/>
                    </a:lnTo>
                    <a:lnTo>
                      <a:pt x="450" y="2866"/>
                    </a:lnTo>
                    <a:lnTo>
                      <a:pt x="446" y="2854"/>
                    </a:lnTo>
                    <a:lnTo>
                      <a:pt x="442" y="2844"/>
                    </a:lnTo>
                    <a:lnTo>
                      <a:pt x="438" y="2832"/>
                    </a:lnTo>
                    <a:lnTo>
                      <a:pt x="434" y="2818"/>
                    </a:lnTo>
                    <a:lnTo>
                      <a:pt x="432" y="2804"/>
                    </a:lnTo>
                    <a:lnTo>
                      <a:pt x="432" y="2792"/>
                    </a:lnTo>
                    <a:lnTo>
                      <a:pt x="432" y="2762"/>
                    </a:lnTo>
                    <a:lnTo>
                      <a:pt x="432" y="2708"/>
                    </a:lnTo>
                    <a:lnTo>
                      <a:pt x="432" y="2700"/>
                    </a:lnTo>
                    <a:lnTo>
                      <a:pt x="430" y="2674"/>
                    </a:lnTo>
                    <a:lnTo>
                      <a:pt x="424" y="2646"/>
                    </a:lnTo>
                    <a:lnTo>
                      <a:pt x="410" y="2592"/>
                    </a:lnTo>
                    <a:lnTo>
                      <a:pt x="404" y="2566"/>
                    </a:lnTo>
                    <a:lnTo>
                      <a:pt x="402" y="2538"/>
                    </a:lnTo>
                    <a:lnTo>
                      <a:pt x="402" y="2472"/>
                    </a:lnTo>
                    <a:lnTo>
                      <a:pt x="400" y="2418"/>
                    </a:lnTo>
                    <a:lnTo>
                      <a:pt x="392" y="2304"/>
                    </a:lnTo>
                    <a:lnTo>
                      <a:pt x="392" y="2276"/>
                    </a:lnTo>
                    <a:lnTo>
                      <a:pt x="396" y="2250"/>
                    </a:lnTo>
                    <a:lnTo>
                      <a:pt x="412" y="2160"/>
                    </a:lnTo>
                    <a:lnTo>
                      <a:pt x="416" y="2132"/>
                    </a:lnTo>
                    <a:lnTo>
                      <a:pt x="418" y="2104"/>
                    </a:lnTo>
                    <a:lnTo>
                      <a:pt x="418" y="2038"/>
                    </a:lnTo>
                    <a:lnTo>
                      <a:pt x="418" y="1984"/>
                    </a:lnTo>
                    <a:lnTo>
                      <a:pt x="418" y="1980"/>
                    </a:lnTo>
                    <a:lnTo>
                      <a:pt x="420" y="1956"/>
                    </a:lnTo>
                    <a:lnTo>
                      <a:pt x="422" y="1946"/>
                    </a:lnTo>
                    <a:lnTo>
                      <a:pt x="426" y="1938"/>
                    </a:lnTo>
                    <a:lnTo>
                      <a:pt x="428" y="1936"/>
                    </a:lnTo>
                    <a:lnTo>
                      <a:pt x="432" y="1934"/>
                    </a:lnTo>
                    <a:lnTo>
                      <a:pt x="436" y="1936"/>
                    </a:lnTo>
                    <a:lnTo>
                      <a:pt x="438" y="1938"/>
                    </a:lnTo>
                    <a:lnTo>
                      <a:pt x="446" y="1956"/>
                    </a:lnTo>
                    <a:lnTo>
                      <a:pt x="454" y="1978"/>
                    </a:lnTo>
                    <a:lnTo>
                      <a:pt x="492" y="2094"/>
                    </a:lnTo>
                    <a:lnTo>
                      <a:pt x="506" y="2144"/>
                    </a:lnTo>
                    <a:lnTo>
                      <a:pt x="512" y="2166"/>
                    </a:lnTo>
                    <a:lnTo>
                      <a:pt x="514" y="2186"/>
                    </a:lnTo>
                    <a:lnTo>
                      <a:pt x="514" y="2216"/>
                    </a:lnTo>
                    <a:lnTo>
                      <a:pt x="514" y="2256"/>
                    </a:lnTo>
                    <a:lnTo>
                      <a:pt x="514" y="2564"/>
                    </a:lnTo>
                    <a:lnTo>
                      <a:pt x="514" y="2618"/>
                    </a:lnTo>
                    <a:lnTo>
                      <a:pt x="514" y="2730"/>
                    </a:lnTo>
                    <a:lnTo>
                      <a:pt x="514" y="2758"/>
                    </a:lnTo>
                    <a:lnTo>
                      <a:pt x="518" y="2784"/>
                    </a:lnTo>
                    <a:lnTo>
                      <a:pt x="538" y="2924"/>
                    </a:lnTo>
                    <a:lnTo>
                      <a:pt x="546" y="2978"/>
                    </a:lnTo>
                    <a:lnTo>
                      <a:pt x="550" y="3010"/>
                    </a:lnTo>
                    <a:lnTo>
                      <a:pt x="556" y="3032"/>
                    </a:lnTo>
                    <a:lnTo>
                      <a:pt x="562" y="3048"/>
                    </a:lnTo>
                    <a:lnTo>
                      <a:pt x="578" y="3072"/>
                    </a:lnTo>
                    <a:lnTo>
                      <a:pt x="580" y="3076"/>
                    </a:lnTo>
                    <a:lnTo>
                      <a:pt x="580" y="3082"/>
                    </a:lnTo>
                    <a:lnTo>
                      <a:pt x="580" y="3086"/>
                    </a:lnTo>
                    <a:lnTo>
                      <a:pt x="578" y="3090"/>
                    </a:lnTo>
                    <a:lnTo>
                      <a:pt x="574" y="3094"/>
                    </a:lnTo>
                    <a:lnTo>
                      <a:pt x="572" y="3100"/>
                    </a:lnTo>
                    <a:lnTo>
                      <a:pt x="570" y="3114"/>
                    </a:lnTo>
                    <a:lnTo>
                      <a:pt x="570" y="3144"/>
                    </a:lnTo>
                    <a:lnTo>
                      <a:pt x="570" y="3168"/>
                    </a:lnTo>
                    <a:lnTo>
                      <a:pt x="572" y="3174"/>
                    </a:lnTo>
                    <a:lnTo>
                      <a:pt x="576" y="3182"/>
                    </a:lnTo>
                    <a:lnTo>
                      <a:pt x="588" y="3202"/>
                    </a:lnTo>
                    <a:lnTo>
                      <a:pt x="592" y="3206"/>
                    </a:lnTo>
                    <a:lnTo>
                      <a:pt x="600" y="3214"/>
                    </a:lnTo>
                    <a:lnTo>
                      <a:pt x="610" y="3222"/>
                    </a:lnTo>
                    <a:lnTo>
                      <a:pt x="618" y="3226"/>
                    </a:lnTo>
                    <a:lnTo>
                      <a:pt x="624" y="3228"/>
                    </a:lnTo>
                    <a:lnTo>
                      <a:pt x="630" y="3230"/>
                    </a:lnTo>
                    <a:lnTo>
                      <a:pt x="634" y="3236"/>
                    </a:lnTo>
                    <a:lnTo>
                      <a:pt x="638" y="3244"/>
                    </a:lnTo>
                    <a:lnTo>
                      <a:pt x="638" y="3256"/>
                    </a:lnTo>
                    <a:lnTo>
                      <a:pt x="638" y="3262"/>
                    </a:lnTo>
                    <a:lnTo>
                      <a:pt x="638" y="3308"/>
                    </a:lnTo>
                    <a:lnTo>
                      <a:pt x="640" y="3324"/>
                    </a:lnTo>
                    <a:lnTo>
                      <a:pt x="646" y="3338"/>
                    </a:lnTo>
                    <a:lnTo>
                      <a:pt x="666" y="3368"/>
                    </a:lnTo>
                    <a:lnTo>
                      <a:pt x="682" y="3386"/>
                    </a:lnTo>
                    <a:lnTo>
                      <a:pt x="702" y="3404"/>
                    </a:lnTo>
                    <a:lnTo>
                      <a:pt x="716" y="3416"/>
                    </a:lnTo>
                    <a:lnTo>
                      <a:pt x="742" y="3440"/>
                    </a:lnTo>
                    <a:lnTo>
                      <a:pt x="748" y="3442"/>
                    </a:lnTo>
                    <a:lnTo>
                      <a:pt x="756" y="3442"/>
                    </a:lnTo>
                    <a:lnTo>
                      <a:pt x="776" y="3442"/>
                    </a:lnTo>
                    <a:lnTo>
                      <a:pt x="848" y="3436"/>
                    </a:lnTo>
                    <a:lnTo>
                      <a:pt x="858" y="3434"/>
                    </a:lnTo>
                    <a:lnTo>
                      <a:pt x="868" y="3426"/>
                    </a:lnTo>
                    <a:lnTo>
                      <a:pt x="874" y="3418"/>
                    </a:lnTo>
                    <a:lnTo>
                      <a:pt x="876" y="3406"/>
                    </a:lnTo>
                    <a:lnTo>
                      <a:pt x="876" y="3354"/>
                    </a:lnTo>
                    <a:lnTo>
                      <a:pt x="874" y="3342"/>
                    </a:lnTo>
                    <a:lnTo>
                      <a:pt x="872" y="3328"/>
                    </a:lnTo>
                    <a:lnTo>
                      <a:pt x="866" y="3318"/>
                    </a:lnTo>
                    <a:lnTo>
                      <a:pt x="862" y="3308"/>
                    </a:lnTo>
                    <a:lnTo>
                      <a:pt x="848" y="3288"/>
                    </a:lnTo>
                    <a:lnTo>
                      <a:pt x="836" y="3264"/>
                    </a:lnTo>
                    <a:lnTo>
                      <a:pt x="802" y="3194"/>
                    </a:lnTo>
                    <a:lnTo>
                      <a:pt x="792" y="3170"/>
                    </a:lnTo>
                    <a:lnTo>
                      <a:pt x="784" y="3144"/>
                    </a:lnTo>
                    <a:lnTo>
                      <a:pt x="782" y="3134"/>
                    </a:lnTo>
                    <a:lnTo>
                      <a:pt x="782" y="3120"/>
                    </a:lnTo>
                    <a:lnTo>
                      <a:pt x="782" y="3106"/>
                    </a:lnTo>
                    <a:lnTo>
                      <a:pt x="782" y="3094"/>
                    </a:lnTo>
                    <a:lnTo>
                      <a:pt x="788" y="3064"/>
                    </a:lnTo>
                    <a:lnTo>
                      <a:pt x="790" y="3036"/>
                    </a:lnTo>
                    <a:lnTo>
                      <a:pt x="792" y="3010"/>
                    </a:lnTo>
                    <a:lnTo>
                      <a:pt x="792" y="2932"/>
                    </a:lnTo>
                    <a:lnTo>
                      <a:pt x="792" y="2904"/>
                    </a:lnTo>
                    <a:lnTo>
                      <a:pt x="796" y="2876"/>
                    </a:lnTo>
                    <a:lnTo>
                      <a:pt x="816" y="2750"/>
                    </a:lnTo>
                    <a:lnTo>
                      <a:pt x="818" y="2724"/>
                    </a:lnTo>
                    <a:lnTo>
                      <a:pt x="816" y="2696"/>
                    </a:lnTo>
                    <a:lnTo>
                      <a:pt x="796" y="2594"/>
                    </a:lnTo>
                    <a:lnTo>
                      <a:pt x="792" y="2566"/>
                    </a:lnTo>
                    <a:lnTo>
                      <a:pt x="792" y="2538"/>
                    </a:lnTo>
                    <a:lnTo>
                      <a:pt x="792" y="2462"/>
                    </a:lnTo>
                    <a:lnTo>
                      <a:pt x="790" y="2406"/>
                    </a:lnTo>
                    <a:lnTo>
                      <a:pt x="780" y="2280"/>
                    </a:lnTo>
                    <a:lnTo>
                      <a:pt x="780" y="2254"/>
                    </a:lnTo>
                    <a:lnTo>
                      <a:pt x="782" y="2226"/>
                    </a:lnTo>
                    <a:lnTo>
                      <a:pt x="788" y="2196"/>
                    </a:lnTo>
                    <a:lnTo>
                      <a:pt x="794" y="2142"/>
                    </a:lnTo>
                    <a:lnTo>
                      <a:pt x="800" y="2086"/>
                    </a:lnTo>
                    <a:lnTo>
                      <a:pt x="804" y="2060"/>
                    </a:lnTo>
                    <a:lnTo>
                      <a:pt x="804" y="2032"/>
                    </a:lnTo>
                    <a:lnTo>
                      <a:pt x="804" y="1894"/>
                    </a:lnTo>
                    <a:lnTo>
                      <a:pt x="804" y="1868"/>
                    </a:lnTo>
                    <a:lnTo>
                      <a:pt x="800" y="1840"/>
                    </a:lnTo>
                    <a:lnTo>
                      <a:pt x="794" y="1784"/>
                    </a:lnTo>
                    <a:lnTo>
                      <a:pt x="790" y="1758"/>
                    </a:lnTo>
                    <a:lnTo>
                      <a:pt x="782" y="1732"/>
                    </a:lnTo>
                    <a:lnTo>
                      <a:pt x="772" y="1700"/>
                    </a:lnTo>
                    <a:lnTo>
                      <a:pt x="764" y="1678"/>
                    </a:lnTo>
                    <a:lnTo>
                      <a:pt x="762" y="1662"/>
                    </a:lnTo>
                    <a:lnTo>
                      <a:pt x="764" y="1656"/>
                    </a:lnTo>
                    <a:lnTo>
                      <a:pt x="766" y="1650"/>
                    </a:lnTo>
                    <a:lnTo>
                      <a:pt x="772" y="1644"/>
                    </a:lnTo>
                    <a:lnTo>
                      <a:pt x="776" y="1638"/>
                    </a:lnTo>
                    <a:lnTo>
                      <a:pt x="784" y="1634"/>
                    </a:lnTo>
                    <a:lnTo>
                      <a:pt x="792" y="1630"/>
                    </a:lnTo>
                    <a:lnTo>
                      <a:pt x="800" y="1630"/>
                    </a:lnTo>
                    <a:lnTo>
                      <a:pt x="806" y="1632"/>
                    </a:lnTo>
                    <a:lnTo>
                      <a:pt x="812" y="1634"/>
                    </a:lnTo>
                    <a:lnTo>
                      <a:pt x="818" y="1634"/>
                    </a:lnTo>
                    <a:lnTo>
                      <a:pt x="822" y="1630"/>
                    </a:lnTo>
                    <a:lnTo>
                      <a:pt x="826" y="1626"/>
                    </a:lnTo>
                    <a:lnTo>
                      <a:pt x="836" y="1614"/>
                    </a:lnTo>
                    <a:lnTo>
                      <a:pt x="846" y="1602"/>
                    </a:lnTo>
                    <a:lnTo>
                      <a:pt x="852" y="1598"/>
                    </a:lnTo>
                    <a:lnTo>
                      <a:pt x="860" y="1600"/>
                    </a:lnTo>
                    <a:lnTo>
                      <a:pt x="868" y="1604"/>
                    </a:lnTo>
                    <a:lnTo>
                      <a:pt x="874" y="1612"/>
                    </a:lnTo>
                    <a:lnTo>
                      <a:pt x="902" y="1650"/>
                    </a:lnTo>
                    <a:lnTo>
                      <a:pt x="914" y="1666"/>
                    </a:lnTo>
                    <a:lnTo>
                      <a:pt x="920" y="1672"/>
                    </a:lnTo>
                    <a:lnTo>
                      <a:pt x="924" y="1674"/>
                    </a:lnTo>
                    <a:lnTo>
                      <a:pt x="926" y="1674"/>
                    </a:lnTo>
                    <a:lnTo>
                      <a:pt x="930" y="1678"/>
                    </a:lnTo>
                    <a:lnTo>
                      <a:pt x="936" y="1692"/>
                    </a:lnTo>
                    <a:lnTo>
                      <a:pt x="942" y="1712"/>
                    </a:lnTo>
                    <a:lnTo>
                      <a:pt x="944" y="1738"/>
                    </a:lnTo>
                    <a:lnTo>
                      <a:pt x="944" y="1744"/>
                    </a:lnTo>
                    <a:lnTo>
                      <a:pt x="944" y="1798"/>
                    </a:lnTo>
                    <a:lnTo>
                      <a:pt x="944" y="2068"/>
                    </a:lnTo>
                    <a:lnTo>
                      <a:pt x="940" y="2096"/>
                    </a:lnTo>
                    <a:lnTo>
                      <a:pt x="936" y="2122"/>
                    </a:lnTo>
                    <a:lnTo>
                      <a:pt x="926" y="2154"/>
                    </a:lnTo>
                    <a:lnTo>
                      <a:pt x="918" y="2180"/>
                    </a:lnTo>
                    <a:lnTo>
                      <a:pt x="912" y="2208"/>
                    </a:lnTo>
                    <a:lnTo>
                      <a:pt x="906" y="2238"/>
                    </a:lnTo>
                    <a:lnTo>
                      <a:pt x="902" y="2264"/>
                    </a:lnTo>
                    <a:lnTo>
                      <a:pt x="902" y="2292"/>
                    </a:lnTo>
                    <a:lnTo>
                      <a:pt x="902" y="2358"/>
                    </a:lnTo>
                    <a:lnTo>
                      <a:pt x="898" y="2386"/>
                    </a:lnTo>
                    <a:lnTo>
                      <a:pt x="892" y="2412"/>
                    </a:lnTo>
                    <a:lnTo>
                      <a:pt x="868" y="2480"/>
                    </a:lnTo>
                    <a:lnTo>
                      <a:pt x="862" y="2506"/>
                    </a:lnTo>
                    <a:lnTo>
                      <a:pt x="856" y="2534"/>
                    </a:lnTo>
                    <a:lnTo>
                      <a:pt x="850" y="2576"/>
                    </a:lnTo>
                    <a:lnTo>
                      <a:pt x="844" y="2630"/>
                    </a:lnTo>
                    <a:lnTo>
                      <a:pt x="836" y="2720"/>
                    </a:lnTo>
                    <a:lnTo>
                      <a:pt x="836" y="2732"/>
                    </a:lnTo>
                    <a:lnTo>
                      <a:pt x="838" y="2744"/>
                    </a:lnTo>
                    <a:lnTo>
                      <a:pt x="842" y="2756"/>
                    </a:lnTo>
                    <a:lnTo>
                      <a:pt x="846" y="2764"/>
                    </a:lnTo>
                    <a:lnTo>
                      <a:pt x="850" y="2774"/>
                    </a:lnTo>
                    <a:lnTo>
                      <a:pt x="852" y="2782"/>
                    </a:lnTo>
                    <a:lnTo>
                      <a:pt x="850" y="2792"/>
                    </a:lnTo>
                    <a:lnTo>
                      <a:pt x="846" y="2802"/>
                    </a:lnTo>
                    <a:lnTo>
                      <a:pt x="842" y="2810"/>
                    </a:lnTo>
                    <a:lnTo>
                      <a:pt x="842" y="2820"/>
                    </a:lnTo>
                    <a:lnTo>
                      <a:pt x="846" y="2830"/>
                    </a:lnTo>
                    <a:lnTo>
                      <a:pt x="852" y="2840"/>
                    </a:lnTo>
                    <a:lnTo>
                      <a:pt x="858" y="2846"/>
                    </a:lnTo>
                    <a:lnTo>
                      <a:pt x="864" y="2856"/>
                    </a:lnTo>
                    <a:lnTo>
                      <a:pt x="870" y="2870"/>
                    </a:lnTo>
                    <a:lnTo>
                      <a:pt x="874" y="2882"/>
                    </a:lnTo>
                    <a:lnTo>
                      <a:pt x="876" y="2894"/>
                    </a:lnTo>
                    <a:lnTo>
                      <a:pt x="876" y="3020"/>
                    </a:lnTo>
                    <a:lnTo>
                      <a:pt x="876" y="3054"/>
                    </a:lnTo>
                    <a:lnTo>
                      <a:pt x="878" y="3062"/>
                    </a:lnTo>
                    <a:lnTo>
                      <a:pt x="882" y="3072"/>
                    </a:lnTo>
                    <a:lnTo>
                      <a:pt x="892" y="3086"/>
                    </a:lnTo>
                    <a:lnTo>
                      <a:pt x="910" y="3102"/>
                    </a:lnTo>
                    <a:lnTo>
                      <a:pt x="920" y="3110"/>
                    </a:lnTo>
                    <a:lnTo>
                      <a:pt x="928" y="3116"/>
                    </a:lnTo>
                    <a:lnTo>
                      <a:pt x="936" y="3120"/>
                    </a:lnTo>
                    <a:lnTo>
                      <a:pt x="944" y="3120"/>
                    </a:lnTo>
                    <a:lnTo>
                      <a:pt x="978" y="3120"/>
                    </a:lnTo>
                    <a:lnTo>
                      <a:pt x="1014" y="3120"/>
                    </a:lnTo>
                    <a:lnTo>
                      <a:pt x="1028" y="3120"/>
                    </a:lnTo>
                    <a:lnTo>
                      <a:pt x="1040" y="3116"/>
                    </a:lnTo>
                    <a:lnTo>
                      <a:pt x="1046" y="3110"/>
                    </a:lnTo>
                    <a:lnTo>
                      <a:pt x="1052" y="3104"/>
                    </a:lnTo>
                    <a:lnTo>
                      <a:pt x="1058" y="3094"/>
                    </a:lnTo>
                    <a:lnTo>
                      <a:pt x="1062" y="3084"/>
                    </a:lnTo>
                    <a:lnTo>
                      <a:pt x="1068" y="3060"/>
                    </a:lnTo>
                    <a:lnTo>
                      <a:pt x="1070" y="3036"/>
                    </a:lnTo>
                    <a:lnTo>
                      <a:pt x="1068" y="3024"/>
                    </a:lnTo>
                    <a:lnTo>
                      <a:pt x="1066" y="3012"/>
                    </a:lnTo>
                    <a:lnTo>
                      <a:pt x="1062" y="2998"/>
                    </a:lnTo>
                    <a:lnTo>
                      <a:pt x="1058" y="2986"/>
                    </a:lnTo>
                    <a:lnTo>
                      <a:pt x="1052" y="2976"/>
                    </a:lnTo>
                    <a:lnTo>
                      <a:pt x="1028" y="2926"/>
                    </a:lnTo>
                    <a:lnTo>
                      <a:pt x="1024" y="2914"/>
                    </a:lnTo>
                    <a:lnTo>
                      <a:pt x="1020" y="2904"/>
                    </a:lnTo>
                    <a:lnTo>
                      <a:pt x="1020" y="2890"/>
                    </a:lnTo>
                    <a:lnTo>
                      <a:pt x="1022" y="2878"/>
                    </a:lnTo>
                    <a:lnTo>
                      <a:pt x="1028" y="2868"/>
                    </a:lnTo>
                    <a:lnTo>
                      <a:pt x="1038" y="2854"/>
                    </a:lnTo>
                    <a:lnTo>
                      <a:pt x="1044" y="2842"/>
                    </a:lnTo>
                    <a:lnTo>
                      <a:pt x="1050" y="2830"/>
                    </a:lnTo>
                    <a:lnTo>
                      <a:pt x="1052" y="2818"/>
                    </a:lnTo>
                    <a:lnTo>
                      <a:pt x="1054" y="2806"/>
                    </a:lnTo>
                    <a:lnTo>
                      <a:pt x="1054" y="2796"/>
                    </a:lnTo>
                    <a:lnTo>
                      <a:pt x="1058" y="2782"/>
                    </a:lnTo>
                    <a:lnTo>
                      <a:pt x="1062" y="2770"/>
                    </a:lnTo>
                    <a:lnTo>
                      <a:pt x="1066" y="2758"/>
                    </a:lnTo>
                    <a:lnTo>
                      <a:pt x="1084" y="2724"/>
                    </a:lnTo>
                    <a:lnTo>
                      <a:pt x="1094" y="2698"/>
                    </a:lnTo>
                    <a:lnTo>
                      <a:pt x="1102" y="2672"/>
                    </a:lnTo>
                    <a:lnTo>
                      <a:pt x="1144" y="2520"/>
                    </a:lnTo>
                    <a:lnTo>
                      <a:pt x="1156" y="2466"/>
                    </a:lnTo>
                    <a:lnTo>
                      <a:pt x="1188" y="2266"/>
                    </a:lnTo>
                    <a:lnTo>
                      <a:pt x="1200" y="2214"/>
                    </a:lnTo>
                    <a:lnTo>
                      <a:pt x="1228" y="2110"/>
                    </a:lnTo>
                    <a:lnTo>
                      <a:pt x="1240" y="2058"/>
                    </a:lnTo>
                    <a:lnTo>
                      <a:pt x="1256" y="1990"/>
                    </a:lnTo>
                    <a:lnTo>
                      <a:pt x="1258" y="1980"/>
                    </a:lnTo>
                    <a:lnTo>
                      <a:pt x="1262" y="1974"/>
                    </a:lnTo>
                    <a:lnTo>
                      <a:pt x="1266" y="1972"/>
                    </a:lnTo>
                    <a:lnTo>
                      <a:pt x="1268" y="1976"/>
                    </a:lnTo>
                    <a:lnTo>
                      <a:pt x="1272" y="1982"/>
                    </a:lnTo>
                    <a:lnTo>
                      <a:pt x="1274" y="1992"/>
                    </a:lnTo>
                    <a:lnTo>
                      <a:pt x="1276" y="2016"/>
                    </a:lnTo>
                    <a:lnTo>
                      <a:pt x="1276" y="2080"/>
                    </a:lnTo>
                    <a:lnTo>
                      <a:pt x="1278" y="2106"/>
                    </a:lnTo>
                    <a:lnTo>
                      <a:pt x="1282" y="2134"/>
                    </a:lnTo>
                    <a:lnTo>
                      <a:pt x="1284" y="2142"/>
                    </a:lnTo>
                    <a:lnTo>
                      <a:pt x="1286" y="2154"/>
                    </a:lnTo>
                    <a:lnTo>
                      <a:pt x="1286" y="2168"/>
                    </a:lnTo>
                    <a:lnTo>
                      <a:pt x="1282" y="2182"/>
                    </a:lnTo>
                    <a:lnTo>
                      <a:pt x="1278" y="2194"/>
                    </a:lnTo>
                    <a:lnTo>
                      <a:pt x="1274" y="2204"/>
                    </a:lnTo>
                    <a:lnTo>
                      <a:pt x="1268" y="2216"/>
                    </a:lnTo>
                    <a:lnTo>
                      <a:pt x="1264" y="2228"/>
                    </a:lnTo>
                    <a:lnTo>
                      <a:pt x="1262" y="2242"/>
                    </a:lnTo>
                    <a:lnTo>
                      <a:pt x="1262" y="2256"/>
                    </a:lnTo>
                    <a:lnTo>
                      <a:pt x="1262" y="2262"/>
                    </a:lnTo>
                    <a:lnTo>
                      <a:pt x="1262" y="2318"/>
                    </a:lnTo>
                    <a:lnTo>
                      <a:pt x="1262" y="2358"/>
                    </a:lnTo>
                    <a:lnTo>
                      <a:pt x="1258" y="2414"/>
                    </a:lnTo>
                    <a:lnTo>
                      <a:pt x="1252" y="2480"/>
                    </a:lnTo>
                    <a:lnTo>
                      <a:pt x="1246" y="2534"/>
                    </a:lnTo>
                    <a:lnTo>
                      <a:pt x="1238" y="2598"/>
                    </a:lnTo>
                    <a:lnTo>
                      <a:pt x="1234" y="2620"/>
                    </a:lnTo>
                    <a:lnTo>
                      <a:pt x="1228" y="2638"/>
                    </a:lnTo>
                    <a:lnTo>
                      <a:pt x="1222" y="2654"/>
                    </a:lnTo>
                    <a:lnTo>
                      <a:pt x="1214" y="2678"/>
                    </a:lnTo>
                    <a:lnTo>
                      <a:pt x="1212" y="2682"/>
                    </a:lnTo>
                    <a:lnTo>
                      <a:pt x="1212" y="2696"/>
                    </a:lnTo>
                    <a:lnTo>
                      <a:pt x="1212" y="2708"/>
                    </a:lnTo>
                    <a:lnTo>
                      <a:pt x="1216" y="2722"/>
                    </a:lnTo>
                    <a:lnTo>
                      <a:pt x="1220" y="2734"/>
                    </a:lnTo>
                    <a:lnTo>
                      <a:pt x="1226" y="2746"/>
                    </a:lnTo>
                    <a:lnTo>
                      <a:pt x="1230" y="2758"/>
                    </a:lnTo>
                    <a:lnTo>
                      <a:pt x="1234" y="2772"/>
                    </a:lnTo>
                    <a:lnTo>
                      <a:pt x="1234" y="2786"/>
                    </a:lnTo>
                    <a:lnTo>
                      <a:pt x="1234" y="2816"/>
                    </a:lnTo>
                    <a:lnTo>
                      <a:pt x="1236" y="2826"/>
                    </a:lnTo>
                    <a:lnTo>
                      <a:pt x="1242" y="2838"/>
                    </a:lnTo>
                    <a:lnTo>
                      <a:pt x="1250" y="2848"/>
                    </a:lnTo>
                    <a:lnTo>
                      <a:pt x="1260" y="2854"/>
                    </a:lnTo>
                    <a:lnTo>
                      <a:pt x="1266" y="2856"/>
                    </a:lnTo>
                    <a:lnTo>
                      <a:pt x="1284" y="2864"/>
                    </a:lnTo>
                    <a:lnTo>
                      <a:pt x="1296" y="2868"/>
                    </a:lnTo>
                    <a:lnTo>
                      <a:pt x="1300" y="2870"/>
                    </a:lnTo>
                    <a:lnTo>
                      <a:pt x="1306" y="2874"/>
                    </a:lnTo>
                    <a:lnTo>
                      <a:pt x="1318" y="2890"/>
                    </a:lnTo>
                    <a:lnTo>
                      <a:pt x="1330" y="2904"/>
                    </a:lnTo>
                    <a:lnTo>
                      <a:pt x="1344" y="2924"/>
                    </a:lnTo>
                    <a:lnTo>
                      <a:pt x="1360" y="2940"/>
                    </a:lnTo>
                    <a:lnTo>
                      <a:pt x="1374" y="2950"/>
                    </a:lnTo>
                    <a:lnTo>
                      <a:pt x="1388" y="2958"/>
                    </a:lnTo>
                    <a:lnTo>
                      <a:pt x="1414" y="2970"/>
                    </a:lnTo>
                    <a:lnTo>
                      <a:pt x="1456" y="2982"/>
                    </a:lnTo>
                    <a:lnTo>
                      <a:pt x="1458" y="2982"/>
                    </a:lnTo>
                    <a:lnTo>
                      <a:pt x="1470" y="2984"/>
                    </a:lnTo>
                    <a:lnTo>
                      <a:pt x="1484" y="2984"/>
                    </a:lnTo>
                    <a:lnTo>
                      <a:pt x="1498" y="2982"/>
                    </a:lnTo>
                    <a:lnTo>
                      <a:pt x="1510" y="2980"/>
                    </a:lnTo>
                    <a:lnTo>
                      <a:pt x="1526" y="2972"/>
                    </a:lnTo>
                    <a:lnTo>
                      <a:pt x="1538" y="2968"/>
                    </a:lnTo>
                    <a:lnTo>
                      <a:pt x="1548" y="2960"/>
                    </a:lnTo>
                    <a:lnTo>
                      <a:pt x="1556" y="2952"/>
                    </a:lnTo>
                    <a:lnTo>
                      <a:pt x="1560" y="2946"/>
                    </a:lnTo>
                    <a:lnTo>
                      <a:pt x="1562" y="2936"/>
                    </a:lnTo>
                    <a:lnTo>
                      <a:pt x="1560" y="2926"/>
                    </a:lnTo>
                    <a:lnTo>
                      <a:pt x="1556" y="2918"/>
                    </a:lnTo>
                    <a:lnTo>
                      <a:pt x="1548" y="2908"/>
                    </a:lnTo>
                    <a:lnTo>
                      <a:pt x="1534" y="2896"/>
                    </a:lnTo>
                    <a:lnTo>
                      <a:pt x="1494" y="2860"/>
                    </a:lnTo>
                    <a:lnTo>
                      <a:pt x="1474" y="2840"/>
                    </a:lnTo>
                    <a:lnTo>
                      <a:pt x="1458" y="2818"/>
                    </a:lnTo>
                    <a:lnTo>
                      <a:pt x="1442" y="2796"/>
                    </a:lnTo>
                    <a:lnTo>
                      <a:pt x="1438" y="2784"/>
                    </a:lnTo>
                    <a:lnTo>
                      <a:pt x="1434" y="2770"/>
                    </a:lnTo>
                    <a:lnTo>
                      <a:pt x="1430" y="2756"/>
                    </a:lnTo>
                    <a:lnTo>
                      <a:pt x="1430" y="2744"/>
                    </a:lnTo>
                    <a:lnTo>
                      <a:pt x="1430" y="2738"/>
                    </a:lnTo>
                    <a:lnTo>
                      <a:pt x="1432" y="2726"/>
                    </a:lnTo>
                    <a:lnTo>
                      <a:pt x="1436" y="2714"/>
                    </a:lnTo>
                    <a:lnTo>
                      <a:pt x="1442" y="2704"/>
                    </a:lnTo>
                    <a:lnTo>
                      <a:pt x="1450" y="2698"/>
                    </a:lnTo>
                    <a:lnTo>
                      <a:pt x="1458" y="2692"/>
                    </a:lnTo>
                    <a:lnTo>
                      <a:pt x="1466" y="2684"/>
                    </a:lnTo>
                    <a:lnTo>
                      <a:pt x="1470" y="2676"/>
                    </a:lnTo>
                    <a:lnTo>
                      <a:pt x="1472" y="2668"/>
                    </a:lnTo>
                    <a:lnTo>
                      <a:pt x="1474" y="2624"/>
                    </a:lnTo>
                    <a:lnTo>
                      <a:pt x="1480" y="2568"/>
                    </a:lnTo>
                    <a:lnTo>
                      <a:pt x="1486" y="2542"/>
                    </a:lnTo>
                    <a:lnTo>
                      <a:pt x="1492" y="2514"/>
                    </a:lnTo>
                    <a:lnTo>
                      <a:pt x="1506" y="2472"/>
                    </a:lnTo>
                    <a:lnTo>
                      <a:pt x="1512" y="2444"/>
                    </a:lnTo>
                    <a:lnTo>
                      <a:pt x="1516" y="2418"/>
                    </a:lnTo>
                    <a:lnTo>
                      <a:pt x="1524" y="2328"/>
                    </a:lnTo>
                    <a:lnTo>
                      <a:pt x="1528" y="2302"/>
                    </a:lnTo>
                    <a:lnTo>
                      <a:pt x="1536" y="2274"/>
                    </a:lnTo>
                    <a:lnTo>
                      <a:pt x="1572" y="2158"/>
                    </a:lnTo>
                    <a:lnTo>
                      <a:pt x="1588" y="2106"/>
                    </a:lnTo>
                    <a:lnTo>
                      <a:pt x="1616" y="1978"/>
                    </a:lnTo>
                    <a:lnTo>
                      <a:pt x="1630" y="1924"/>
                    </a:lnTo>
                    <a:lnTo>
                      <a:pt x="1660" y="1810"/>
                    </a:lnTo>
                    <a:lnTo>
                      <a:pt x="1664" y="1784"/>
                    </a:lnTo>
                    <a:lnTo>
                      <a:pt x="1666" y="1758"/>
                    </a:lnTo>
                    <a:lnTo>
                      <a:pt x="1668" y="1748"/>
                    </a:lnTo>
                    <a:lnTo>
                      <a:pt x="1672" y="1736"/>
                    </a:lnTo>
                    <a:lnTo>
                      <a:pt x="1678" y="1724"/>
                    </a:lnTo>
                    <a:lnTo>
                      <a:pt x="1684" y="1716"/>
                    </a:lnTo>
                    <a:lnTo>
                      <a:pt x="1728" y="1670"/>
                    </a:lnTo>
                    <a:lnTo>
                      <a:pt x="1734" y="1660"/>
                    </a:lnTo>
                    <a:lnTo>
                      <a:pt x="1740" y="1648"/>
                    </a:lnTo>
                    <a:lnTo>
                      <a:pt x="1744" y="1636"/>
                    </a:lnTo>
                    <a:lnTo>
                      <a:pt x="1746" y="1624"/>
                    </a:lnTo>
                    <a:lnTo>
                      <a:pt x="1746" y="1582"/>
                    </a:lnTo>
                    <a:lnTo>
                      <a:pt x="1746" y="1528"/>
                    </a:lnTo>
                    <a:lnTo>
                      <a:pt x="1746" y="1446"/>
                    </a:lnTo>
                    <a:close/>
                    <a:moveTo>
                      <a:pt x="190" y="614"/>
                    </a:moveTo>
                    <a:lnTo>
                      <a:pt x="190" y="614"/>
                    </a:lnTo>
                    <a:lnTo>
                      <a:pt x="186" y="614"/>
                    </a:lnTo>
                    <a:lnTo>
                      <a:pt x="190" y="614"/>
                    </a:lnTo>
                    <a:lnTo>
                      <a:pt x="192" y="614"/>
                    </a:lnTo>
                    <a:lnTo>
                      <a:pt x="190" y="6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07" name="TextBox 46"/>
            <p:cNvSpPr txBox="1">
              <a:spLocks noChangeArrowheads="1"/>
            </p:cNvSpPr>
            <p:nvPr/>
          </p:nvSpPr>
          <p:spPr bwMode="auto">
            <a:xfrm>
              <a:off x="3563938" y="1389003"/>
              <a:ext cx="2011363" cy="1274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>
                <a:defRPr/>
              </a:pPr>
              <a:r>
                <a:rPr lang="en-GB" sz="1050" b="1" dirty="0" smtClean="0">
                  <a:solidFill>
                    <a:srgbClr val="FFFFFF"/>
                  </a:solidFill>
                  <a:latin typeface="Arial" charset="0"/>
                </a:rPr>
                <a:t>Threat of substitutes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Please replace with own text</a:t>
              </a:r>
            </a:p>
            <a:p>
              <a:pPr algn="ctr">
                <a:spcBef>
                  <a:spcPct val="20000"/>
                </a:spcBef>
                <a:buFont typeface="Arial" charset="0"/>
                <a:buChar char="•"/>
                <a:defRPr/>
              </a:pPr>
              <a:r>
                <a:rPr lang="en-GB" sz="1050" noProof="1" smtClean="0">
                  <a:solidFill>
                    <a:srgbClr val="FFFFFF"/>
                  </a:solidFill>
                  <a:cs typeface="Arial" charset="0"/>
                </a:rPr>
                <a:t>This is an example text. </a:t>
              </a:r>
            </a:p>
            <a:p>
              <a:pPr>
                <a:defRPr/>
              </a:pPr>
              <a:endParaRPr lang="nb-NO" sz="1050" dirty="0" smtClean="0">
                <a:solidFill>
                  <a:srgbClr val="353637"/>
                </a:solidFill>
                <a:latin typeface="Arial" charset="0"/>
              </a:endParaRPr>
            </a:p>
            <a:p>
              <a:pPr>
                <a:defRPr/>
              </a:pPr>
              <a:endParaRPr lang="nb-NO" sz="1600" dirty="0" smtClean="0">
                <a:latin typeface="Arial" charset="0"/>
              </a:endParaRPr>
            </a:p>
          </p:txBody>
        </p:sp>
      </p:grpSp>
      <p:sp>
        <p:nvSpPr>
          <p:cNvPr id="20485" name="Rounded Rectangle 44"/>
          <p:cNvSpPr>
            <a:spLocks noChangeArrowheads="1"/>
          </p:cNvSpPr>
          <p:nvPr/>
        </p:nvSpPr>
        <p:spPr bwMode="auto">
          <a:xfrm rot="16200000" flipH="1">
            <a:off x="6210301" y="3433762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20486" name="Rounded Rectangle 38"/>
          <p:cNvSpPr>
            <a:spLocks noChangeArrowheads="1"/>
          </p:cNvSpPr>
          <p:nvPr/>
        </p:nvSpPr>
        <p:spPr bwMode="auto">
          <a:xfrm rot="16200000" flipH="1">
            <a:off x="6210301" y="2154237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4" name="Round Same Side Corner Rectangle 83"/>
          <p:cNvSpPr/>
          <p:nvPr/>
        </p:nvSpPr>
        <p:spPr>
          <a:xfrm>
            <a:off x="5183188" y="319246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85" name="Round Same Side Corner Rectangle 84"/>
          <p:cNvSpPr/>
          <p:nvPr/>
        </p:nvSpPr>
        <p:spPr>
          <a:xfrm>
            <a:off x="5183188" y="4473575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20489" name="Rounded Rectangle 27"/>
          <p:cNvSpPr>
            <a:spLocks noChangeArrowheads="1"/>
          </p:cNvSpPr>
          <p:nvPr/>
        </p:nvSpPr>
        <p:spPr bwMode="auto">
          <a:xfrm rot="16200000" flipH="1">
            <a:off x="6210301" y="866775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7" name="Round Same Side Corner Rectangle 86"/>
          <p:cNvSpPr/>
          <p:nvPr/>
        </p:nvSpPr>
        <p:spPr>
          <a:xfrm>
            <a:off x="5183188" y="187801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20491" name="Rektangel 76"/>
          <p:cNvSpPr>
            <a:spLocks noChangeArrowheads="1"/>
          </p:cNvSpPr>
          <p:nvPr/>
        </p:nvSpPr>
        <p:spPr bwMode="auto">
          <a:xfrm>
            <a:off x="5316538" y="190658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0492" name="Rektangel 76"/>
          <p:cNvSpPr>
            <a:spLocks noChangeArrowheads="1"/>
          </p:cNvSpPr>
          <p:nvPr/>
        </p:nvSpPr>
        <p:spPr bwMode="auto">
          <a:xfrm>
            <a:off x="5316538" y="3209925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0493" name="Rektangel 76"/>
          <p:cNvSpPr>
            <a:spLocks noChangeArrowheads="1"/>
          </p:cNvSpPr>
          <p:nvPr/>
        </p:nvSpPr>
        <p:spPr bwMode="auto">
          <a:xfrm>
            <a:off x="5316538" y="449103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0494" name="Tekstboks 72"/>
          <p:cNvSpPr txBox="1">
            <a:spLocks noChangeArrowheads="1"/>
          </p:cNvSpPr>
          <p:nvPr/>
        </p:nvSpPr>
        <p:spPr bwMode="auto">
          <a:xfrm>
            <a:off x="6086475" y="2374900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20495" name="Tekstboks 72"/>
          <p:cNvSpPr txBox="1">
            <a:spLocks noChangeArrowheads="1"/>
          </p:cNvSpPr>
          <p:nvPr/>
        </p:nvSpPr>
        <p:spPr bwMode="auto">
          <a:xfrm>
            <a:off x="6086475" y="3660775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20496" name="Tekstboks 72"/>
          <p:cNvSpPr txBox="1">
            <a:spLocks noChangeArrowheads="1"/>
          </p:cNvSpPr>
          <p:nvPr/>
        </p:nvSpPr>
        <p:spPr bwMode="auto">
          <a:xfrm>
            <a:off x="6086475" y="4941888"/>
            <a:ext cx="21240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grpSp>
        <p:nvGrpSpPr>
          <p:cNvPr id="20497" name="Group 44"/>
          <p:cNvGrpSpPr>
            <a:grpSpLocks/>
          </p:cNvGrpSpPr>
          <p:nvPr/>
        </p:nvGrpSpPr>
        <p:grpSpPr bwMode="auto">
          <a:xfrm>
            <a:off x="5327650" y="2362200"/>
            <a:ext cx="403225" cy="403225"/>
            <a:chOff x="3294062" y="1631156"/>
            <a:chExt cx="460375" cy="460375"/>
          </a:xfrm>
        </p:grpSpPr>
        <p:sp>
          <p:nvSpPr>
            <p:cNvPr id="95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0505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1</a:t>
              </a:r>
            </a:p>
          </p:txBody>
        </p:sp>
      </p:grpSp>
      <p:grpSp>
        <p:nvGrpSpPr>
          <p:cNvPr id="20498" name="Group 44"/>
          <p:cNvGrpSpPr>
            <a:grpSpLocks/>
          </p:cNvGrpSpPr>
          <p:nvPr/>
        </p:nvGrpSpPr>
        <p:grpSpPr bwMode="auto">
          <a:xfrm>
            <a:off x="5327650" y="3660775"/>
            <a:ext cx="403225" cy="403225"/>
            <a:chOff x="3294062" y="1631156"/>
            <a:chExt cx="460375" cy="460375"/>
          </a:xfrm>
        </p:grpSpPr>
        <p:sp>
          <p:nvSpPr>
            <p:cNvPr id="98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0503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2</a:t>
              </a:r>
            </a:p>
          </p:txBody>
        </p:sp>
      </p:grpSp>
      <p:grpSp>
        <p:nvGrpSpPr>
          <p:cNvPr id="20499" name="Group 44"/>
          <p:cNvGrpSpPr>
            <a:grpSpLocks/>
          </p:cNvGrpSpPr>
          <p:nvPr/>
        </p:nvGrpSpPr>
        <p:grpSpPr bwMode="auto">
          <a:xfrm>
            <a:off x="5327650" y="4941888"/>
            <a:ext cx="403225" cy="403225"/>
            <a:chOff x="3294062" y="1631156"/>
            <a:chExt cx="460375" cy="460375"/>
          </a:xfrm>
        </p:grpSpPr>
        <p:sp>
          <p:nvSpPr>
            <p:cNvPr id="101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0501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3</a:t>
              </a:r>
            </a:p>
          </p:txBody>
        </p: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8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871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Group 36"/>
          <p:cNvGrpSpPr>
            <a:grpSpLocks/>
          </p:cNvGrpSpPr>
          <p:nvPr/>
        </p:nvGrpSpPr>
        <p:grpSpPr bwMode="auto">
          <a:xfrm>
            <a:off x="4970463" y="1514475"/>
            <a:ext cx="3403600" cy="4379913"/>
            <a:chOff x="2878138" y="1703773"/>
            <a:chExt cx="3403600" cy="4379527"/>
          </a:xfrm>
        </p:grpSpPr>
        <p:sp>
          <p:nvSpPr>
            <p:cNvPr id="21530" name="Tekstboks 6"/>
            <p:cNvSpPr txBox="1">
              <a:spLocks noChangeArrowheads="1"/>
            </p:cNvSpPr>
            <p:nvPr/>
          </p:nvSpPr>
          <p:spPr bwMode="auto">
            <a:xfrm>
              <a:off x="3521075" y="3275013"/>
              <a:ext cx="21336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 eaLnBrk="1" hangingPunct="1"/>
              <a:r>
                <a:rPr lang="da-DK" sz="1400" b="1">
                  <a:solidFill>
                    <a:srgbClr val="227088"/>
                  </a:solidFill>
                </a:rPr>
                <a:t>RIVALRY</a:t>
              </a:r>
            </a:p>
          </p:txBody>
        </p:sp>
        <p:sp>
          <p:nvSpPr>
            <p:cNvPr id="39" name="Donut 7"/>
            <p:cNvSpPr>
              <a:spLocks/>
            </p:cNvSpPr>
            <p:nvPr/>
          </p:nvSpPr>
          <p:spPr bwMode="auto">
            <a:xfrm rot="2700000">
              <a:off x="3247350" y="2107638"/>
              <a:ext cx="2677876" cy="2679700"/>
            </a:xfrm>
            <a:custGeom>
              <a:avLst/>
              <a:gdLst>
                <a:gd name="T0" fmla="*/ 0 w 2678113"/>
                <a:gd name="T1" fmla="*/ 1339850 h 2679700"/>
                <a:gd name="T2" fmla="*/ 1339057 w 2678113"/>
                <a:gd name="T3" fmla="*/ 0 h 2679700"/>
                <a:gd name="T4" fmla="*/ 2678114 w 2678113"/>
                <a:gd name="T5" fmla="*/ 1339850 h 2679700"/>
                <a:gd name="T6" fmla="*/ 1339057 w 2678113"/>
                <a:gd name="T7" fmla="*/ 2679700 h 2679700"/>
                <a:gd name="T8" fmla="*/ 0 w 2678113"/>
                <a:gd name="T9" fmla="*/ 1339850 h 2679700"/>
                <a:gd name="T10" fmla="*/ 322123 w 2678113"/>
                <a:gd name="T11" fmla="*/ 1339850 h 2679700"/>
                <a:gd name="T12" fmla="*/ 1339056 w 2678113"/>
                <a:gd name="T13" fmla="*/ 2357577 h 2679700"/>
                <a:gd name="T14" fmla="*/ 2355989 w 2678113"/>
                <a:gd name="T15" fmla="*/ 1339850 h 2679700"/>
                <a:gd name="T16" fmla="*/ 1339056 w 2678113"/>
                <a:gd name="T17" fmla="*/ 322123 h 2679700"/>
                <a:gd name="T18" fmla="*/ 322123 w 2678113"/>
                <a:gd name="T19" fmla="*/ 1339850 h 2679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78113" h="2679700">
                  <a:moveTo>
                    <a:pt x="0" y="1339850"/>
                  </a:moveTo>
                  <a:cubicBezTo>
                    <a:pt x="0" y="599871"/>
                    <a:pt x="599516" y="0"/>
                    <a:pt x="1339057" y="0"/>
                  </a:cubicBezTo>
                  <a:cubicBezTo>
                    <a:pt x="2078598" y="0"/>
                    <a:pt x="2678114" y="599871"/>
                    <a:pt x="2678114" y="1339850"/>
                  </a:cubicBezTo>
                  <a:cubicBezTo>
                    <a:pt x="2678114" y="2079829"/>
                    <a:pt x="2078598" y="2679700"/>
                    <a:pt x="1339057" y="2679700"/>
                  </a:cubicBezTo>
                  <a:cubicBezTo>
                    <a:pt x="599516" y="2679700"/>
                    <a:pt x="0" y="2079829"/>
                    <a:pt x="0" y="1339850"/>
                  </a:cubicBezTo>
                  <a:close/>
                  <a:moveTo>
                    <a:pt x="322123" y="1339850"/>
                  </a:moveTo>
                  <a:cubicBezTo>
                    <a:pt x="322123" y="1901925"/>
                    <a:pt x="777419" y="2357577"/>
                    <a:pt x="1339056" y="2357577"/>
                  </a:cubicBezTo>
                  <a:cubicBezTo>
                    <a:pt x="1900693" y="2357577"/>
                    <a:pt x="2355989" y="1901925"/>
                    <a:pt x="2355989" y="1339850"/>
                  </a:cubicBezTo>
                  <a:cubicBezTo>
                    <a:pt x="2355989" y="777775"/>
                    <a:pt x="1900693" y="322123"/>
                    <a:pt x="1339056" y="322123"/>
                  </a:cubicBezTo>
                  <a:cubicBezTo>
                    <a:pt x="777419" y="322123"/>
                    <a:pt x="322123" y="777775"/>
                    <a:pt x="322123" y="1339850"/>
                  </a:cubicBez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21532" name="Group 67"/>
            <p:cNvGrpSpPr>
              <a:grpSpLocks/>
            </p:cNvGrpSpPr>
            <p:nvPr/>
          </p:nvGrpSpPr>
          <p:grpSpPr bwMode="auto">
            <a:xfrm>
              <a:off x="2878138" y="2898778"/>
              <a:ext cx="1122362" cy="1098550"/>
              <a:chOff x="2590806" y="2443937"/>
              <a:chExt cx="1362074" cy="1334317"/>
            </a:xfrm>
          </p:grpSpPr>
          <p:grpSp>
            <p:nvGrpSpPr>
              <p:cNvPr id="21567" name="Gruppe 83"/>
              <p:cNvGrpSpPr>
                <a:grpSpLocks/>
              </p:cNvGrpSpPr>
              <p:nvPr/>
            </p:nvGrpSpPr>
            <p:grpSpPr bwMode="auto">
              <a:xfrm rot="5400000">
                <a:off x="2604684" y="2430059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67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86000">
                      <a:srgbClr val="2A9B18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8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69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64" name="L-Shape 63"/>
              <p:cNvSpPr/>
              <p:nvPr/>
            </p:nvSpPr>
            <p:spPr>
              <a:xfrm>
                <a:off x="3047399" y="3053533"/>
                <a:ext cx="470079" cy="375966"/>
              </a:xfrm>
              <a:prstGeom prst="corner">
                <a:avLst>
                  <a:gd name="adj1" fmla="val 74088"/>
                  <a:gd name="adj2" fmla="val 34067"/>
                </a:avLst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5" name="Cloud 64"/>
              <p:cNvSpPr/>
              <p:nvPr/>
            </p:nvSpPr>
            <p:spPr>
              <a:xfrm rot="2580872">
                <a:off x="3103270" y="2660214"/>
                <a:ext cx="223480" cy="406814"/>
              </a:xfrm>
              <a:prstGeom prst="cloud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21533" name="Group 65"/>
            <p:cNvGrpSpPr>
              <a:grpSpLocks/>
            </p:cNvGrpSpPr>
            <p:nvPr/>
          </p:nvGrpSpPr>
          <p:grpSpPr bwMode="auto">
            <a:xfrm>
              <a:off x="5160963" y="2898778"/>
              <a:ext cx="1120775" cy="1098550"/>
              <a:chOff x="6413505" y="2443937"/>
              <a:chExt cx="1362074" cy="1334317"/>
            </a:xfrm>
          </p:grpSpPr>
          <p:grpSp>
            <p:nvGrpSpPr>
              <p:cNvPr id="21558" name="Gruppe 83"/>
              <p:cNvGrpSpPr>
                <a:grpSpLocks/>
              </p:cNvGrpSpPr>
              <p:nvPr/>
            </p:nvGrpSpPr>
            <p:grpSpPr bwMode="auto">
              <a:xfrm rot="-5400000">
                <a:off x="6427383" y="2430059"/>
                <a:ext cx="1334317" cy="1362074"/>
                <a:chOff x="3717577" y="1040361"/>
                <a:chExt cx="1708847" cy="1742936"/>
              </a:xfrm>
            </p:grpSpPr>
            <p:sp>
              <p:nvSpPr>
                <p:cNvPr id="60" name="Tåre 105"/>
                <p:cNvSpPr/>
                <p:nvPr/>
              </p:nvSpPr>
              <p:spPr bwMode="auto">
                <a:xfrm rot="18900000">
                  <a:off x="3717577" y="1067209"/>
                  <a:ext cx="1708847" cy="1716088"/>
                </a:xfrm>
                <a:prstGeom prst="teardrop">
                  <a:avLst/>
                </a:prstGeom>
                <a:gradFill flip="none" rotWithShape="1">
                  <a:gsLst>
                    <a:gs pos="0">
                      <a:schemeClr val="bg2"/>
                    </a:gs>
                    <a:gs pos="63000">
                      <a:srgbClr val="CE202A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  <a:reflection stA="25000" endPos="35000" dist="12700" dir="5400000" sy="-100000" algn="bl" rotWithShape="0"/>
                </a:effectLst>
              </p:spPr>
              <p:txBody>
                <a:bodyPr anchor="ctr"/>
                <a:lstStyle/>
                <a:p>
                  <a:pPr marL="342900" indent="-342900" algn="ctr" fontAlgn="auto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>
                    <a:solidFill>
                      <a:srgbClr val="FFFFFF"/>
                    </a:solidFill>
                    <a:latin typeface="Calibri" charset="0"/>
                    <a:ea typeface="ＭＳ Ｐゴシック" charset="-128"/>
                    <a:cs typeface="ＭＳ Ｐゴシック" charset="-128"/>
                  </a:endParaRPr>
                </a:p>
              </p:txBody>
            </p:sp>
            <p:sp>
              <p:nvSpPr>
                <p:cNvPr id="61" name="Tåre 106"/>
                <p:cNvSpPr/>
                <p:nvPr/>
              </p:nvSpPr>
              <p:spPr bwMode="auto">
                <a:xfrm rot="18900000">
                  <a:off x="3827250" y="1040361"/>
                  <a:ext cx="1491398" cy="1497717"/>
                </a:xfrm>
                <a:prstGeom prst="teardrop">
                  <a:avLst/>
                </a:prstGeom>
                <a:gradFill flip="none" rotWithShape="1">
                  <a:gsLst>
                    <a:gs pos="4500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5000"/>
                      </a:srgbClr>
                    </a:gs>
                  </a:gsLst>
                  <a:lin ang="18900000" scaled="1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342900" indent="-3429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buFont typeface="Calibri" charset="0"/>
                    <a:buAutoNum type="arabicPeriod"/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62" name="Måne 107"/>
                <p:cNvSpPr/>
                <p:nvPr/>
              </p:nvSpPr>
              <p:spPr bwMode="auto">
                <a:xfrm rot="16045033">
                  <a:off x="4274442" y="1717001"/>
                  <a:ext cx="595116" cy="1477042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8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nb-NO" sz="1800" smtClean="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</p:grpSp>
          <p:sp>
            <p:nvSpPr>
              <p:cNvPr id="21559" name="Freeform 6"/>
              <p:cNvSpPr>
                <a:spLocks noEditPoints="1"/>
              </p:cNvSpPr>
              <p:nvPr/>
            </p:nvSpPr>
            <p:spPr bwMode="auto">
              <a:xfrm>
                <a:off x="6896100" y="2679700"/>
                <a:ext cx="462364" cy="911224"/>
              </a:xfrm>
              <a:custGeom>
                <a:avLst/>
                <a:gdLst>
                  <a:gd name="T0" fmla="*/ 2147483647 w 1746"/>
                  <a:gd name="T1" fmla="*/ 2147483647 h 3442"/>
                  <a:gd name="T2" fmla="*/ 2147483647 w 1746"/>
                  <a:gd name="T3" fmla="*/ 2147483647 h 3442"/>
                  <a:gd name="T4" fmla="*/ 2147483647 w 1746"/>
                  <a:gd name="T5" fmla="*/ 2147483647 h 3442"/>
                  <a:gd name="T6" fmla="*/ 2147483647 w 1746"/>
                  <a:gd name="T7" fmla="*/ 2147483647 h 3442"/>
                  <a:gd name="T8" fmla="*/ 2147483647 w 1746"/>
                  <a:gd name="T9" fmla="*/ 2147483647 h 3442"/>
                  <a:gd name="T10" fmla="*/ 2147483647 w 1746"/>
                  <a:gd name="T11" fmla="*/ 2147483647 h 3442"/>
                  <a:gd name="T12" fmla="*/ 2147483647 w 1746"/>
                  <a:gd name="T13" fmla="*/ 2147483647 h 3442"/>
                  <a:gd name="T14" fmla="*/ 2147483647 w 1746"/>
                  <a:gd name="T15" fmla="*/ 2147483647 h 3442"/>
                  <a:gd name="T16" fmla="*/ 2147483647 w 1746"/>
                  <a:gd name="T17" fmla="*/ 2147483647 h 3442"/>
                  <a:gd name="T18" fmla="*/ 2147483647 w 1746"/>
                  <a:gd name="T19" fmla="*/ 2147483647 h 3442"/>
                  <a:gd name="T20" fmla="*/ 2147483647 w 1746"/>
                  <a:gd name="T21" fmla="*/ 2147483647 h 3442"/>
                  <a:gd name="T22" fmla="*/ 2147483647 w 1746"/>
                  <a:gd name="T23" fmla="*/ 2147483647 h 3442"/>
                  <a:gd name="T24" fmla="*/ 2147483647 w 1746"/>
                  <a:gd name="T25" fmla="*/ 2147483647 h 3442"/>
                  <a:gd name="T26" fmla="*/ 2147483647 w 1746"/>
                  <a:gd name="T27" fmla="*/ 2147483647 h 3442"/>
                  <a:gd name="T28" fmla="*/ 2147483647 w 1746"/>
                  <a:gd name="T29" fmla="*/ 2147483647 h 3442"/>
                  <a:gd name="T30" fmla="*/ 2147483647 w 1746"/>
                  <a:gd name="T31" fmla="*/ 2147483647 h 3442"/>
                  <a:gd name="T32" fmla="*/ 2147483647 w 1746"/>
                  <a:gd name="T33" fmla="*/ 2147483647 h 3442"/>
                  <a:gd name="T34" fmla="*/ 2147483647 w 1746"/>
                  <a:gd name="T35" fmla="*/ 2147483647 h 3442"/>
                  <a:gd name="T36" fmla="*/ 2147483647 w 1746"/>
                  <a:gd name="T37" fmla="*/ 2147483647 h 3442"/>
                  <a:gd name="T38" fmla="*/ 0 w 1746"/>
                  <a:gd name="T39" fmla="*/ 2147483647 h 3442"/>
                  <a:gd name="T40" fmla="*/ 2147483647 w 1746"/>
                  <a:gd name="T41" fmla="*/ 2147483647 h 3442"/>
                  <a:gd name="T42" fmla="*/ 2147483647 w 1746"/>
                  <a:gd name="T43" fmla="*/ 2147483647 h 3442"/>
                  <a:gd name="T44" fmla="*/ 2147483647 w 1746"/>
                  <a:gd name="T45" fmla="*/ 2147483647 h 3442"/>
                  <a:gd name="T46" fmla="*/ 2147483647 w 1746"/>
                  <a:gd name="T47" fmla="*/ 2147483647 h 3442"/>
                  <a:gd name="T48" fmla="*/ 2147483647 w 1746"/>
                  <a:gd name="T49" fmla="*/ 2147483647 h 3442"/>
                  <a:gd name="T50" fmla="*/ 2147483647 w 1746"/>
                  <a:gd name="T51" fmla="*/ 2147483647 h 3442"/>
                  <a:gd name="T52" fmla="*/ 2147483647 w 1746"/>
                  <a:gd name="T53" fmla="*/ 2147483647 h 3442"/>
                  <a:gd name="T54" fmla="*/ 2147483647 w 1746"/>
                  <a:gd name="T55" fmla="*/ 2147483647 h 3442"/>
                  <a:gd name="T56" fmla="*/ 2147483647 w 1746"/>
                  <a:gd name="T57" fmla="*/ 2147483647 h 3442"/>
                  <a:gd name="T58" fmla="*/ 2147483647 w 1746"/>
                  <a:gd name="T59" fmla="*/ 2147483647 h 3442"/>
                  <a:gd name="T60" fmla="*/ 2147483647 w 1746"/>
                  <a:gd name="T61" fmla="*/ 2147483647 h 3442"/>
                  <a:gd name="T62" fmla="*/ 2147483647 w 1746"/>
                  <a:gd name="T63" fmla="*/ 2147483647 h 3442"/>
                  <a:gd name="T64" fmla="*/ 2147483647 w 1746"/>
                  <a:gd name="T65" fmla="*/ 2147483647 h 3442"/>
                  <a:gd name="T66" fmla="*/ 2147483647 w 1746"/>
                  <a:gd name="T67" fmla="*/ 2147483647 h 3442"/>
                  <a:gd name="T68" fmla="*/ 2147483647 w 1746"/>
                  <a:gd name="T69" fmla="*/ 2147483647 h 3442"/>
                  <a:gd name="T70" fmla="*/ 2147483647 w 1746"/>
                  <a:gd name="T71" fmla="*/ 2147483647 h 3442"/>
                  <a:gd name="T72" fmla="*/ 2147483647 w 1746"/>
                  <a:gd name="T73" fmla="*/ 2147483647 h 3442"/>
                  <a:gd name="T74" fmla="*/ 2147483647 w 1746"/>
                  <a:gd name="T75" fmla="*/ 2147483647 h 3442"/>
                  <a:gd name="T76" fmla="*/ 2147483647 w 1746"/>
                  <a:gd name="T77" fmla="*/ 2147483647 h 3442"/>
                  <a:gd name="T78" fmla="*/ 2147483647 w 1746"/>
                  <a:gd name="T79" fmla="*/ 2147483647 h 3442"/>
                  <a:gd name="T80" fmla="*/ 2147483647 w 1746"/>
                  <a:gd name="T81" fmla="*/ 2147483647 h 3442"/>
                  <a:gd name="T82" fmla="*/ 2147483647 w 1746"/>
                  <a:gd name="T83" fmla="*/ 2147483647 h 3442"/>
                  <a:gd name="T84" fmla="*/ 2147483647 w 1746"/>
                  <a:gd name="T85" fmla="*/ 2147483647 h 3442"/>
                  <a:gd name="T86" fmla="*/ 2147483647 w 1746"/>
                  <a:gd name="T87" fmla="*/ 2147483647 h 3442"/>
                  <a:gd name="T88" fmla="*/ 2147483647 w 1746"/>
                  <a:gd name="T89" fmla="*/ 2147483647 h 3442"/>
                  <a:gd name="T90" fmla="*/ 2147483647 w 1746"/>
                  <a:gd name="T91" fmla="*/ 2147483647 h 3442"/>
                  <a:gd name="T92" fmla="*/ 2147483647 w 1746"/>
                  <a:gd name="T93" fmla="*/ 2147483647 h 3442"/>
                  <a:gd name="T94" fmla="*/ 2147483647 w 1746"/>
                  <a:gd name="T95" fmla="*/ 2147483647 h 3442"/>
                  <a:gd name="T96" fmla="*/ 2147483647 w 1746"/>
                  <a:gd name="T97" fmla="*/ 2147483647 h 3442"/>
                  <a:gd name="T98" fmla="*/ 2147483647 w 1746"/>
                  <a:gd name="T99" fmla="*/ 2147483647 h 3442"/>
                  <a:gd name="T100" fmla="*/ 2147483647 w 1746"/>
                  <a:gd name="T101" fmla="*/ 2147483647 h 3442"/>
                  <a:gd name="T102" fmla="*/ 2147483647 w 1746"/>
                  <a:gd name="T103" fmla="*/ 2147483647 h 3442"/>
                  <a:gd name="T104" fmla="*/ 2147483647 w 1746"/>
                  <a:gd name="T105" fmla="*/ 2147483647 h 3442"/>
                  <a:gd name="T106" fmla="*/ 2147483647 w 1746"/>
                  <a:gd name="T107" fmla="*/ 2147483647 h 3442"/>
                  <a:gd name="T108" fmla="*/ 2147483647 w 1746"/>
                  <a:gd name="T109" fmla="*/ 2147483647 h 3442"/>
                  <a:gd name="T110" fmla="*/ 2147483647 w 1746"/>
                  <a:gd name="T111" fmla="*/ 2147483647 h 3442"/>
                  <a:gd name="T112" fmla="*/ 2147483647 w 1746"/>
                  <a:gd name="T113" fmla="*/ 2147483647 h 3442"/>
                  <a:gd name="T114" fmla="*/ 2147483647 w 1746"/>
                  <a:gd name="T115" fmla="*/ 2147483647 h 3442"/>
                  <a:gd name="T116" fmla="*/ 2147483647 w 1746"/>
                  <a:gd name="T117" fmla="*/ 2147483647 h 3442"/>
                  <a:gd name="T118" fmla="*/ 2147483647 w 1746"/>
                  <a:gd name="T119" fmla="*/ 2147483647 h 344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746"/>
                  <a:gd name="T181" fmla="*/ 0 h 3442"/>
                  <a:gd name="T182" fmla="*/ 1746 w 1746"/>
                  <a:gd name="T183" fmla="*/ 3442 h 344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746" h="3442">
                    <a:moveTo>
                      <a:pt x="1746" y="1446"/>
                    </a:moveTo>
                    <a:lnTo>
                      <a:pt x="1746" y="1446"/>
                    </a:lnTo>
                    <a:lnTo>
                      <a:pt x="1746" y="1392"/>
                    </a:lnTo>
                    <a:lnTo>
                      <a:pt x="1746" y="1266"/>
                    </a:lnTo>
                    <a:lnTo>
                      <a:pt x="1744" y="1240"/>
                    </a:lnTo>
                    <a:lnTo>
                      <a:pt x="1738" y="1214"/>
                    </a:lnTo>
                    <a:lnTo>
                      <a:pt x="1714" y="1146"/>
                    </a:lnTo>
                    <a:lnTo>
                      <a:pt x="1706" y="1120"/>
                    </a:lnTo>
                    <a:lnTo>
                      <a:pt x="1702" y="1094"/>
                    </a:lnTo>
                    <a:lnTo>
                      <a:pt x="1694" y="1002"/>
                    </a:lnTo>
                    <a:lnTo>
                      <a:pt x="1688" y="948"/>
                    </a:lnTo>
                    <a:lnTo>
                      <a:pt x="1670" y="822"/>
                    </a:lnTo>
                    <a:lnTo>
                      <a:pt x="1668" y="794"/>
                    </a:lnTo>
                    <a:lnTo>
                      <a:pt x="1666" y="766"/>
                    </a:lnTo>
                    <a:lnTo>
                      <a:pt x="1666" y="738"/>
                    </a:lnTo>
                    <a:lnTo>
                      <a:pt x="1664" y="714"/>
                    </a:lnTo>
                    <a:lnTo>
                      <a:pt x="1662" y="704"/>
                    </a:lnTo>
                    <a:lnTo>
                      <a:pt x="1658" y="696"/>
                    </a:lnTo>
                    <a:lnTo>
                      <a:pt x="1648" y="686"/>
                    </a:lnTo>
                    <a:lnTo>
                      <a:pt x="1636" y="678"/>
                    </a:lnTo>
                    <a:lnTo>
                      <a:pt x="1616" y="668"/>
                    </a:lnTo>
                    <a:lnTo>
                      <a:pt x="1602" y="660"/>
                    </a:lnTo>
                    <a:lnTo>
                      <a:pt x="1582" y="652"/>
                    </a:lnTo>
                    <a:lnTo>
                      <a:pt x="1426" y="588"/>
                    </a:lnTo>
                    <a:lnTo>
                      <a:pt x="1416" y="582"/>
                    </a:lnTo>
                    <a:lnTo>
                      <a:pt x="1406" y="574"/>
                    </a:lnTo>
                    <a:lnTo>
                      <a:pt x="1398" y="564"/>
                    </a:lnTo>
                    <a:lnTo>
                      <a:pt x="1394" y="554"/>
                    </a:lnTo>
                    <a:lnTo>
                      <a:pt x="1392" y="542"/>
                    </a:lnTo>
                    <a:lnTo>
                      <a:pt x="1394" y="532"/>
                    </a:lnTo>
                    <a:lnTo>
                      <a:pt x="1396" y="524"/>
                    </a:lnTo>
                    <a:lnTo>
                      <a:pt x="1402" y="516"/>
                    </a:lnTo>
                    <a:lnTo>
                      <a:pt x="1416" y="500"/>
                    </a:lnTo>
                    <a:lnTo>
                      <a:pt x="1430" y="480"/>
                    </a:lnTo>
                    <a:lnTo>
                      <a:pt x="1442" y="458"/>
                    </a:lnTo>
                    <a:lnTo>
                      <a:pt x="1448" y="446"/>
                    </a:lnTo>
                    <a:lnTo>
                      <a:pt x="1452" y="432"/>
                    </a:lnTo>
                    <a:lnTo>
                      <a:pt x="1456" y="418"/>
                    </a:lnTo>
                    <a:lnTo>
                      <a:pt x="1460" y="406"/>
                    </a:lnTo>
                    <a:lnTo>
                      <a:pt x="1468" y="340"/>
                    </a:lnTo>
                    <a:lnTo>
                      <a:pt x="1470" y="312"/>
                    </a:lnTo>
                    <a:lnTo>
                      <a:pt x="1472" y="286"/>
                    </a:lnTo>
                    <a:lnTo>
                      <a:pt x="1472" y="266"/>
                    </a:lnTo>
                    <a:lnTo>
                      <a:pt x="1470" y="244"/>
                    </a:lnTo>
                    <a:lnTo>
                      <a:pt x="1466" y="234"/>
                    </a:lnTo>
                    <a:lnTo>
                      <a:pt x="1464" y="228"/>
                    </a:lnTo>
                    <a:lnTo>
                      <a:pt x="1456" y="214"/>
                    </a:lnTo>
                    <a:lnTo>
                      <a:pt x="1448" y="198"/>
                    </a:lnTo>
                    <a:lnTo>
                      <a:pt x="1440" y="182"/>
                    </a:lnTo>
                    <a:lnTo>
                      <a:pt x="1430" y="168"/>
                    </a:lnTo>
                    <a:lnTo>
                      <a:pt x="1416" y="156"/>
                    </a:lnTo>
                    <a:lnTo>
                      <a:pt x="1402" y="148"/>
                    </a:lnTo>
                    <a:lnTo>
                      <a:pt x="1366" y="138"/>
                    </a:lnTo>
                    <a:lnTo>
                      <a:pt x="1356" y="136"/>
                    </a:lnTo>
                    <a:lnTo>
                      <a:pt x="1344" y="136"/>
                    </a:lnTo>
                    <a:lnTo>
                      <a:pt x="1332" y="140"/>
                    </a:lnTo>
                    <a:lnTo>
                      <a:pt x="1320" y="142"/>
                    </a:lnTo>
                    <a:lnTo>
                      <a:pt x="1316" y="144"/>
                    </a:lnTo>
                    <a:lnTo>
                      <a:pt x="1266" y="168"/>
                    </a:lnTo>
                    <a:lnTo>
                      <a:pt x="1246" y="178"/>
                    </a:lnTo>
                    <a:lnTo>
                      <a:pt x="1236" y="184"/>
                    </a:lnTo>
                    <a:lnTo>
                      <a:pt x="1226" y="192"/>
                    </a:lnTo>
                    <a:lnTo>
                      <a:pt x="1218" y="202"/>
                    </a:lnTo>
                    <a:lnTo>
                      <a:pt x="1214" y="210"/>
                    </a:lnTo>
                    <a:lnTo>
                      <a:pt x="1196" y="254"/>
                    </a:lnTo>
                    <a:lnTo>
                      <a:pt x="1188" y="274"/>
                    </a:lnTo>
                    <a:lnTo>
                      <a:pt x="1180" y="294"/>
                    </a:lnTo>
                    <a:lnTo>
                      <a:pt x="1176" y="298"/>
                    </a:lnTo>
                    <a:lnTo>
                      <a:pt x="1174" y="300"/>
                    </a:lnTo>
                    <a:lnTo>
                      <a:pt x="1168" y="302"/>
                    </a:lnTo>
                    <a:lnTo>
                      <a:pt x="1166" y="306"/>
                    </a:lnTo>
                    <a:lnTo>
                      <a:pt x="1164" y="316"/>
                    </a:lnTo>
                    <a:lnTo>
                      <a:pt x="1160" y="330"/>
                    </a:lnTo>
                    <a:lnTo>
                      <a:pt x="1156" y="340"/>
                    </a:lnTo>
                    <a:lnTo>
                      <a:pt x="1156" y="348"/>
                    </a:lnTo>
                    <a:lnTo>
                      <a:pt x="1156" y="358"/>
                    </a:lnTo>
                    <a:lnTo>
                      <a:pt x="1160" y="368"/>
                    </a:lnTo>
                    <a:lnTo>
                      <a:pt x="1164" y="382"/>
                    </a:lnTo>
                    <a:lnTo>
                      <a:pt x="1166" y="392"/>
                    </a:lnTo>
                    <a:lnTo>
                      <a:pt x="1168" y="392"/>
                    </a:lnTo>
                    <a:lnTo>
                      <a:pt x="1170" y="394"/>
                    </a:lnTo>
                    <a:lnTo>
                      <a:pt x="1180" y="392"/>
                    </a:lnTo>
                    <a:lnTo>
                      <a:pt x="1186" y="390"/>
                    </a:lnTo>
                    <a:lnTo>
                      <a:pt x="1190" y="396"/>
                    </a:lnTo>
                    <a:lnTo>
                      <a:pt x="1192" y="402"/>
                    </a:lnTo>
                    <a:lnTo>
                      <a:pt x="1194" y="412"/>
                    </a:lnTo>
                    <a:lnTo>
                      <a:pt x="1194" y="440"/>
                    </a:lnTo>
                    <a:lnTo>
                      <a:pt x="1192" y="452"/>
                    </a:lnTo>
                    <a:lnTo>
                      <a:pt x="1190" y="464"/>
                    </a:lnTo>
                    <a:lnTo>
                      <a:pt x="1186" y="476"/>
                    </a:lnTo>
                    <a:lnTo>
                      <a:pt x="1180" y="486"/>
                    </a:lnTo>
                    <a:lnTo>
                      <a:pt x="1152" y="522"/>
                    </a:lnTo>
                    <a:lnTo>
                      <a:pt x="1136" y="540"/>
                    </a:lnTo>
                    <a:lnTo>
                      <a:pt x="1114" y="556"/>
                    </a:lnTo>
                    <a:lnTo>
                      <a:pt x="1106" y="562"/>
                    </a:lnTo>
                    <a:lnTo>
                      <a:pt x="1082" y="576"/>
                    </a:lnTo>
                    <a:lnTo>
                      <a:pt x="1056" y="586"/>
                    </a:lnTo>
                    <a:lnTo>
                      <a:pt x="970" y="616"/>
                    </a:lnTo>
                    <a:lnTo>
                      <a:pt x="958" y="618"/>
                    </a:lnTo>
                    <a:lnTo>
                      <a:pt x="944" y="620"/>
                    </a:lnTo>
                    <a:lnTo>
                      <a:pt x="930" y="618"/>
                    </a:lnTo>
                    <a:lnTo>
                      <a:pt x="918" y="614"/>
                    </a:lnTo>
                    <a:lnTo>
                      <a:pt x="844" y="578"/>
                    </a:lnTo>
                    <a:lnTo>
                      <a:pt x="794" y="554"/>
                    </a:lnTo>
                    <a:lnTo>
                      <a:pt x="732" y="528"/>
                    </a:lnTo>
                    <a:lnTo>
                      <a:pt x="708" y="518"/>
                    </a:lnTo>
                    <a:lnTo>
                      <a:pt x="680" y="510"/>
                    </a:lnTo>
                    <a:lnTo>
                      <a:pt x="632" y="498"/>
                    </a:lnTo>
                    <a:lnTo>
                      <a:pt x="622" y="494"/>
                    </a:lnTo>
                    <a:lnTo>
                      <a:pt x="612" y="488"/>
                    </a:lnTo>
                    <a:lnTo>
                      <a:pt x="604" y="478"/>
                    </a:lnTo>
                    <a:lnTo>
                      <a:pt x="598" y="468"/>
                    </a:lnTo>
                    <a:lnTo>
                      <a:pt x="586" y="450"/>
                    </a:lnTo>
                    <a:lnTo>
                      <a:pt x="578" y="440"/>
                    </a:lnTo>
                    <a:lnTo>
                      <a:pt x="574" y="434"/>
                    </a:lnTo>
                    <a:lnTo>
                      <a:pt x="572" y="426"/>
                    </a:lnTo>
                    <a:lnTo>
                      <a:pt x="570" y="406"/>
                    </a:lnTo>
                    <a:lnTo>
                      <a:pt x="570" y="340"/>
                    </a:lnTo>
                    <a:lnTo>
                      <a:pt x="572" y="328"/>
                    </a:lnTo>
                    <a:lnTo>
                      <a:pt x="574" y="314"/>
                    </a:lnTo>
                    <a:lnTo>
                      <a:pt x="578" y="300"/>
                    </a:lnTo>
                    <a:lnTo>
                      <a:pt x="584" y="288"/>
                    </a:lnTo>
                    <a:lnTo>
                      <a:pt x="588" y="278"/>
                    </a:lnTo>
                    <a:lnTo>
                      <a:pt x="594" y="264"/>
                    </a:lnTo>
                    <a:lnTo>
                      <a:pt x="596" y="252"/>
                    </a:lnTo>
                    <a:lnTo>
                      <a:pt x="596" y="240"/>
                    </a:lnTo>
                    <a:lnTo>
                      <a:pt x="596" y="210"/>
                    </a:lnTo>
                    <a:lnTo>
                      <a:pt x="596" y="206"/>
                    </a:lnTo>
                    <a:lnTo>
                      <a:pt x="594" y="204"/>
                    </a:lnTo>
                    <a:lnTo>
                      <a:pt x="584" y="196"/>
                    </a:lnTo>
                    <a:lnTo>
                      <a:pt x="578" y="192"/>
                    </a:lnTo>
                    <a:lnTo>
                      <a:pt x="572" y="184"/>
                    </a:lnTo>
                    <a:lnTo>
                      <a:pt x="568" y="176"/>
                    </a:lnTo>
                    <a:lnTo>
                      <a:pt x="566" y="164"/>
                    </a:lnTo>
                    <a:lnTo>
                      <a:pt x="560" y="146"/>
                    </a:lnTo>
                    <a:lnTo>
                      <a:pt x="548" y="94"/>
                    </a:lnTo>
                    <a:lnTo>
                      <a:pt x="540" y="72"/>
                    </a:lnTo>
                    <a:lnTo>
                      <a:pt x="528" y="52"/>
                    </a:lnTo>
                    <a:lnTo>
                      <a:pt x="516" y="38"/>
                    </a:lnTo>
                    <a:lnTo>
                      <a:pt x="510" y="34"/>
                    </a:lnTo>
                    <a:lnTo>
                      <a:pt x="506" y="34"/>
                    </a:lnTo>
                    <a:lnTo>
                      <a:pt x="498" y="32"/>
                    </a:lnTo>
                    <a:lnTo>
                      <a:pt x="486" y="28"/>
                    </a:lnTo>
                    <a:lnTo>
                      <a:pt x="476" y="24"/>
                    </a:lnTo>
                    <a:lnTo>
                      <a:pt x="466" y="22"/>
                    </a:lnTo>
                    <a:lnTo>
                      <a:pt x="454" y="20"/>
                    </a:lnTo>
                    <a:lnTo>
                      <a:pt x="438" y="10"/>
                    </a:lnTo>
                    <a:lnTo>
                      <a:pt x="428" y="6"/>
                    </a:lnTo>
                    <a:lnTo>
                      <a:pt x="416" y="2"/>
                    </a:lnTo>
                    <a:lnTo>
                      <a:pt x="404" y="0"/>
                    </a:lnTo>
                    <a:lnTo>
                      <a:pt x="390" y="0"/>
                    </a:lnTo>
                    <a:lnTo>
                      <a:pt x="388" y="0"/>
                    </a:lnTo>
                    <a:lnTo>
                      <a:pt x="348" y="0"/>
                    </a:lnTo>
                    <a:lnTo>
                      <a:pt x="332" y="2"/>
                    </a:lnTo>
                    <a:lnTo>
                      <a:pt x="314" y="10"/>
                    </a:lnTo>
                    <a:lnTo>
                      <a:pt x="292" y="24"/>
                    </a:lnTo>
                    <a:lnTo>
                      <a:pt x="272" y="40"/>
                    </a:lnTo>
                    <a:lnTo>
                      <a:pt x="252" y="58"/>
                    </a:lnTo>
                    <a:lnTo>
                      <a:pt x="238" y="76"/>
                    </a:lnTo>
                    <a:lnTo>
                      <a:pt x="228" y="94"/>
                    </a:lnTo>
                    <a:lnTo>
                      <a:pt x="226" y="100"/>
                    </a:lnTo>
                    <a:lnTo>
                      <a:pt x="224" y="106"/>
                    </a:lnTo>
                    <a:lnTo>
                      <a:pt x="222" y="120"/>
                    </a:lnTo>
                    <a:lnTo>
                      <a:pt x="216" y="136"/>
                    </a:lnTo>
                    <a:lnTo>
                      <a:pt x="214" y="146"/>
                    </a:lnTo>
                    <a:lnTo>
                      <a:pt x="212" y="158"/>
                    </a:lnTo>
                    <a:lnTo>
                      <a:pt x="212" y="170"/>
                    </a:lnTo>
                    <a:lnTo>
                      <a:pt x="214" y="182"/>
                    </a:lnTo>
                    <a:lnTo>
                      <a:pt x="220" y="224"/>
                    </a:lnTo>
                    <a:lnTo>
                      <a:pt x="224" y="250"/>
                    </a:lnTo>
                    <a:lnTo>
                      <a:pt x="224" y="276"/>
                    </a:lnTo>
                    <a:lnTo>
                      <a:pt x="226" y="298"/>
                    </a:lnTo>
                    <a:lnTo>
                      <a:pt x="230" y="318"/>
                    </a:lnTo>
                    <a:lnTo>
                      <a:pt x="240" y="334"/>
                    </a:lnTo>
                    <a:lnTo>
                      <a:pt x="250" y="348"/>
                    </a:lnTo>
                    <a:lnTo>
                      <a:pt x="262" y="362"/>
                    </a:lnTo>
                    <a:lnTo>
                      <a:pt x="272" y="378"/>
                    </a:lnTo>
                    <a:lnTo>
                      <a:pt x="282" y="398"/>
                    </a:lnTo>
                    <a:lnTo>
                      <a:pt x="298" y="418"/>
                    </a:lnTo>
                    <a:lnTo>
                      <a:pt x="304" y="424"/>
                    </a:lnTo>
                    <a:lnTo>
                      <a:pt x="310" y="434"/>
                    </a:lnTo>
                    <a:lnTo>
                      <a:pt x="316" y="446"/>
                    </a:lnTo>
                    <a:lnTo>
                      <a:pt x="320" y="460"/>
                    </a:lnTo>
                    <a:lnTo>
                      <a:pt x="322" y="472"/>
                    </a:lnTo>
                    <a:lnTo>
                      <a:pt x="322" y="502"/>
                    </a:lnTo>
                    <a:lnTo>
                      <a:pt x="320" y="526"/>
                    </a:lnTo>
                    <a:lnTo>
                      <a:pt x="318" y="538"/>
                    </a:lnTo>
                    <a:lnTo>
                      <a:pt x="314" y="548"/>
                    </a:lnTo>
                    <a:lnTo>
                      <a:pt x="308" y="556"/>
                    </a:lnTo>
                    <a:lnTo>
                      <a:pt x="300" y="564"/>
                    </a:lnTo>
                    <a:lnTo>
                      <a:pt x="292" y="570"/>
                    </a:lnTo>
                    <a:lnTo>
                      <a:pt x="280" y="576"/>
                    </a:lnTo>
                    <a:lnTo>
                      <a:pt x="220" y="602"/>
                    </a:lnTo>
                    <a:lnTo>
                      <a:pt x="200" y="610"/>
                    </a:lnTo>
                    <a:lnTo>
                      <a:pt x="190" y="614"/>
                    </a:lnTo>
                    <a:lnTo>
                      <a:pt x="178" y="618"/>
                    </a:lnTo>
                    <a:lnTo>
                      <a:pt x="160" y="628"/>
                    </a:lnTo>
                    <a:lnTo>
                      <a:pt x="150" y="634"/>
                    </a:lnTo>
                    <a:lnTo>
                      <a:pt x="128" y="652"/>
                    </a:lnTo>
                    <a:lnTo>
                      <a:pt x="110" y="670"/>
                    </a:lnTo>
                    <a:lnTo>
                      <a:pt x="104" y="678"/>
                    </a:lnTo>
                    <a:lnTo>
                      <a:pt x="86" y="696"/>
                    </a:lnTo>
                    <a:lnTo>
                      <a:pt x="70" y="710"/>
                    </a:lnTo>
                    <a:lnTo>
                      <a:pt x="66" y="716"/>
                    </a:lnTo>
                    <a:lnTo>
                      <a:pt x="60" y="724"/>
                    </a:lnTo>
                    <a:lnTo>
                      <a:pt x="58" y="732"/>
                    </a:lnTo>
                    <a:lnTo>
                      <a:pt x="56" y="740"/>
                    </a:lnTo>
                    <a:lnTo>
                      <a:pt x="56" y="786"/>
                    </a:lnTo>
                    <a:lnTo>
                      <a:pt x="56" y="802"/>
                    </a:lnTo>
                    <a:lnTo>
                      <a:pt x="58" y="858"/>
                    </a:lnTo>
                    <a:lnTo>
                      <a:pt x="70" y="958"/>
                    </a:lnTo>
                    <a:lnTo>
                      <a:pt x="70" y="986"/>
                    </a:lnTo>
                    <a:lnTo>
                      <a:pt x="68" y="1014"/>
                    </a:lnTo>
                    <a:lnTo>
                      <a:pt x="48" y="1116"/>
                    </a:lnTo>
                    <a:lnTo>
                      <a:pt x="38" y="1170"/>
                    </a:lnTo>
                    <a:lnTo>
                      <a:pt x="6" y="1344"/>
                    </a:lnTo>
                    <a:lnTo>
                      <a:pt x="2" y="1370"/>
                    </a:lnTo>
                    <a:lnTo>
                      <a:pt x="0" y="1396"/>
                    </a:lnTo>
                    <a:lnTo>
                      <a:pt x="0" y="1444"/>
                    </a:lnTo>
                    <a:lnTo>
                      <a:pt x="2" y="1470"/>
                    </a:lnTo>
                    <a:lnTo>
                      <a:pt x="8" y="1494"/>
                    </a:lnTo>
                    <a:lnTo>
                      <a:pt x="16" y="1518"/>
                    </a:lnTo>
                    <a:lnTo>
                      <a:pt x="28" y="1542"/>
                    </a:lnTo>
                    <a:lnTo>
                      <a:pt x="30" y="1542"/>
                    </a:lnTo>
                    <a:lnTo>
                      <a:pt x="60" y="1588"/>
                    </a:lnTo>
                    <a:lnTo>
                      <a:pt x="70" y="1602"/>
                    </a:lnTo>
                    <a:lnTo>
                      <a:pt x="76" y="1614"/>
                    </a:lnTo>
                    <a:lnTo>
                      <a:pt x="82" y="1626"/>
                    </a:lnTo>
                    <a:lnTo>
                      <a:pt x="88" y="1640"/>
                    </a:lnTo>
                    <a:lnTo>
                      <a:pt x="90" y="1652"/>
                    </a:lnTo>
                    <a:lnTo>
                      <a:pt x="92" y="1660"/>
                    </a:lnTo>
                    <a:lnTo>
                      <a:pt x="96" y="1688"/>
                    </a:lnTo>
                    <a:lnTo>
                      <a:pt x="98" y="1714"/>
                    </a:lnTo>
                    <a:lnTo>
                      <a:pt x="98" y="1804"/>
                    </a:lnTo>
                    <a:lnTo>
                      <a:pt x="100" y="1830"/>
                    </a:lnTo>
                    <a:lnTo>
                      <a:pt x="104" y="1858"/>
                    </a:lnTo>
                    <a:lnTo>
                      <a:pt x="120" y="1924"/>
                    </a:lnTo>
                    <a:lnTo>
                      <a:pt x="132" y="1978"/>
                    </a:lnTo>
                    <a:lnTo>
                      <a:pt x="136" y="1996"/>
                    </a:lnTo>
                    <a:lnTo>
                      <a:pt x="138" y="2022"/>
                    </a:lnTo>
                    <a:lnTo>
                      <a:pt x="140" y="2050"/>
                    </a:lnTo>
                    <a:lnTo>
                      <a:pt x="140" y="2056"/>
                    </a:lnTo>
                    <a:lnTo>
                      <a:pt x="140" y="2102"/>
                    </a:lnTo>
                    <a:lnTo>
                      <a:pt x="142" y="2124"/>
                    </a:lnTo>
                    <a:lnTo>
                      <a:pt x="144" y="2148"/>
                    </a:lnTo>
                    <a:lnTo>
                      <a:pt x="164" y="2262"/>
                    </a:lnTo>
                    <a:lnTo>
                      <a:pt x="172" y="2318"/>
                    </a:lnTo>
                    <a:lnTo>
                      <a:pt x="180" y="2418"/>
                    </a:lnTo>
                    <a:lnTo>
                      <a:pt x="184" y="2472"/>
                    </a:lnTo>
                    <a:lnTo>
                      <a:pt x="194" y="2660"/>
                    </a:lnTo>
                    <a:lnTo>
                      <a:pt x="198" y="2686"/>
                    </a:lnTo>
                    <a:lnTo>
                      <a:pt x="206" y="2712"/>
                    </a:lnTo>
                    <a:lnTo>
                      <a:pt x="254" y="2842"/>
                    </a:lnTo>
                    <a:lnTo>
                      <a:pt x="256" y="2854"/>
                    </a:lnTo>
                    <a:lnTo>
                      <a:pt x="258" y="2868"/>
                    </a:lnTo>
                    <a:lnTo>
                      <a:pt x="256" y="2880"/>
                    </a:lnTo>
                    <a:lnTo>
                      <a:pt x="254" y="2892"/>
                    </a:lnTo>
                    <a:lnTo>
                      <a:pt x="234" y="2938"/>
                    </a:lnTo>
                    <a:lnTo>
                      <a:pt x="222" y="2962"/>
                    </a:lnTo>
                    <a:lnTo>
                      <a:pt x="206" y="2984"/>
                    </a:lnTo>
                    <a:lnTo>
                      <a:pt x="200" y="2990"/>
                    </a:lnTo>
                    <a:lnTo>
                      <a:pt x="194" y="3000"/>
                    </a:lnTo>
                    <a:lnTo>
                      <a:pt x="188" y="3014"/>
                    </a:lnTo>
                    <a:lnTo>
                      <a:pt x="184" y="3026"/>
                    </a:lnTo>
                    <a:lnTo>
                      <a:pt x="182" y="3038"/>
                    </a:lnTo>
                    <a:lnTo>
                      <a:pt x="182" y="3094"/>
                    </a:lnTo>
                    <a:lnTo>
                      <a:pt x="184" y="3104"/>
                    </a:lnTo>
                    <a:lnTo>
                      <a:pt x="190" y="3114"/>
                    </a:lnTo>
                    <a:lnTo>
                      <a:pt x="200" y="3120"/>
                    </a:lnTo>
                    <a:lnTo>
                      <a:pt x="210" y="3124"/>
                    </a:lnTo>
                    <a:lnTo>
                      <a:pt x="252" y="3128"/>
                    </a:lnTo>
                    <a:lnTo>
                      <a:pt x="264" y="3128"/>
                    </a:lnTo>
                    <a:lnTo>
                      <a:pt x="278" y="3126"/>
                    </a:lnTo>
                    <a:lnTo>
                      <a:pt x="290" y="3120"/>
                    </a:lnTo>
                    <a:lnTo>
                      <a:pt x="300" y="3114"/>
                    </a:lnTo>
                    <a:lnTo>
                      <a:pt x="314" y="3102"/>
                    </a:lnTo>
                    <a:lnTo>
                      <a:pt x="348" y="3072"/>
                    </a:lnTo>
                    <a:lnTo>
                      <a:pt x="360" y="3060"/>
                    </a:lnTo>
                    <a:lnTo>
                      <a:pt x="368" y="3048"/>
                    </a:lnTo>
                    <a:lnTo>
                      <a:pt x="372" y="3042"/>
                    </a:lnTo>
                    <a:lnTo>
                      <a:pt x="374" y="3034"/>
                    </a:lnTo>
                    <a:lnTo>
                      <a:pt x="376" y="3018"/>
                    </a:lnTo>
                    <a:lnTo>
                      <a:pt x="378" y="3000"/>
                    </a:lnTo>
                    <a:lnTo>
                      <a:pt x="384" y="2982"/>
                    </a:lnTo>
                    <a:lnTo>
                      <a:pt x="390" y="2968"/>
                    </a:lnTo>
                    <a:lnTo>
                      <a:pt x="394" y="2964"/>
                    </a:lnTo>
                    <a:lnTo>
                      <a:pt x="396" y="2964"/>
                    </a:lnTo>
                    <a:lnTo>
                      <a:pt x="406" y="2958"/>
                    </a:lnTo>
                    <a:lnTo>
                      <a:pt x="424" y="2946"/>
                    </a:lnTo>
                    <a:lnTo>
                      <a:pt x="424" y="2944"/>
                    </a:lnTo>
                    <a:lnTo>
                      <a:pt x="432" y="2936"/>
                    </a:lnTo>
                    <a:lnTo>
                      <a:pt x="440" y="2926"/>
                    </a:lnTo>
                    <a:lnTo>
                      <a:pt x="448" y="2914"/>
                    </a:lnTo>
                    <a:lnTo>
                      <a:pt x="452" y="2902"/>
                    </a:lnTo>
                    <a:lnTo>
                      <a:pt x="454" y="2892"/>
                    </a:lnTo>
                    <a:lnTo>
                      <a:pt x="452" y="2878"/>
                    </a:lnTo>
                    <a:lnTo>
                      <a:pt x="450" y="2866"/>
                    </a:lnTo>
                    <a:lnTo>
                      <a:pt x="446" y="2854"/>
                    </a:lnTo>
                    <a:lnTo>
                      <a:pt x="442" y="2844"/>
                    </a:lnTo>
                    <a:lnTo>
                      <a:pt x="438" y="2832"/>
                    </a:lnTo>
                    <a:lnTo>
                      <a:pt x="434" y="2818"/>
                    </a:lnTo>
                    <a:lnTo>
                      <a:pt x="432" y="2804"/>
                    </a:lnTo>
                    <a:lnTo>
                      <a:pt x="432" y="2792"/>
                    </a:lnTo>
                    <a:lnTo>
                      <a:pt x="432" y="2762"/>
                    </a:lnTo>
                    <a:lnTo>
                      <a:pt x="432" y="2708"/>
                    </a:lnTo>
                    <a:lnTo>
                      <a:pt x="432" y="2700"/>
                    </a:lnTo>
                    <a:lnTo>
                      <a:pt x="430" y="2674"/>
                    </a:lnTo>
                    <a:lnTo>
                      <a:pt x="424" y="2646"/>
                    </a:lnTo>
                    <a:lnTo>
                      <a:pt x="410" y="2592"/>
                    </a:lnTo>
                    <a:lnTo>
                      <a:pt x="404" y="2566"/>
                    </a:lnTo>
                    <a:lnTo>
                      <a:pt x="402" y="2538"/>
                    </a:lnTo>
                    <a:lnTo>
                      <a:pt x="402" y="2472"/>
                    </a:lnTo>
                    <a:lnTo>
                      <a:pt x="400" y="2418"/>
                    </a:lnTo>
                    <a:lnTo>
                      <a:pt x="392" y="2304"/>
                    </a:lnTo>
                    <a:lnTo>
                      <a:pt x="392" y="2276"/>
                    </a:lnTo>
                    <a:lnTo>
                      <a:pt x="396" y="2250"/>
                    </a:lnTo>
                    <a:lnTo>
                      <a:pt x="412" y="2160"/>
                    </a:lnTo>
                    <a:lnTo>
                      <a:pt x="416" y="2132"/>
                    </a:lnTo>
                    <a:lnTo>
                      <a:pt x="418" y="2104"/>
                    </a:lnTo>
                    <a:lnTo>
                      <a:pt x="418" y="2038"/>
                    </a:lnTo>
                    <a:lnTo>
                      <a:pt x="418" y="1984"/>
                    </a:lnTo>
                    <a:lnTo>
                      <a:pt x="418" y="1980"/>
                    </a:lnTo>
                    <a:lnTo>
                      <a:pt x="420" y="1956"/>
                    </a:lnTo>
                    <a:lnTo>
                      <a:pt x="422" y="1946"/>
                    </a:lnTo>
                    <a:lnTo>
                      <a:pt x="426" y="1938"/>
                    </a:lnTo>
                    <a:lnTo>
                      <a:pt x="428" y="1936"/>
                    </a:lnTo>
                    <a:lnTo>
                      <a:pt x="432" y="1934"/>
                    </a:lnTo>
                    <a:lnTo>
                      <a:pt x="436" y="1936"/>
                    </a:lnTo>
                    <a:lnTo>
                      <a:pt x="438" y="1938"/>
                    </a:lnTo>
                    <a:lnTo>
                      <a:pt x="446" y="1956"/>
                    </a:lnTo>
                    <a:lnTo>
                      <a:pt x="454" y="1978"/>
                    </a:lnTo>
                    <a:lnTo>
                      <a:pt x="492" y="2094"/>
                    </a:lnTo>
                    <a:lnTo>
                      <a:pt x="506" y="2144"/>
                    </a:lnTo>
                    <a:lnTo>
                      <a:pt x="512" y="2166"/>
                    </a:lnTo>
                    <a:lnTo>
                      <a:pt x="514" y="2186"/>
                    </a:lnTo>
                    <a:lnTo>
                      <a:pt x="514" y="2216"/>
                    </a:lnTo>
                    <a:lnTo>
                      <a:pt x="514" y="2256"/>
                    </a:lnTo>
                    <a:lnTo>
                      <a:pt x="514" y="2564"/>
                    </a:lnTo>
                    <a:lnTo>
                      <a:pt x="514" y="2618"/>
                    </a:lnTo>
                    <a:lnTo>
                      <a:pt x="514" y="2730"/>
                    </a:lnTo>
                    <a:lnTo>
                      <a:pt x="514" y="2758"/>
                    </a:lnTo>
                    <a:lnTo>
                      <a:pt x="518" y="2784"/>
                    </a:lnTo>
                    <a:lnTo>
                      <a:pt x="538" y="2924"/>
                    </a:lnTo>
                    <a:lnTo>
                      <a:pt x="546" y="2978"/>
                    </a:lnTo>
                    <a:lnTo>
                      <a:pt x="550" y="3010"/>
                    </a:lnTo>
                    <a:lnTo>
                      <a:pt x="556" y="3032"/>
                    </a:lnTo>
                    <a:lnTo>
                      <a:pt x="562" y="3048"/>
                    </a:lnTo>
                    <a:lnTo>
                      <a:pt x="578" y="3072"/>
                    </a:lnTo>
                    <a:lnTo>
                      <a:pt x="580" y="3076"/>
                    </a:lnTo>
                    <a:lnTo>
                      <a:pt x="580" y="3082"/>
                    </a:lnTo>
                    <a:lnTo>
                      <a:pt x="580" y="3086"/>
                    </a:lnTo>
                    <a:lnTo>
                      <a:pt x="578" y="3090"/>
                    </a:lnTo>
                    <a:lnTo>
                      <a:pt x="574" y="3094"/>
                    </a:lnTo>
                    <a:lnTo>
                      <a:pt x="572" y="3100"/>
                    </a:lnTo>
                    <a:lnTo>
                      <a:pt x="570" y="3114"/>
                    </a:lnTo>
                    <a:lnTo>
                      <a:pt x="570" y="3144"/>
                    </a:lnTo>
                    <a:lnTo>
                      <a:pt x="570" y="3168"/>
                    </a:lnTo>
                    <a:lnTo>
                      <a:pt x="572" y="3174"/>
                    </a:lnTo>
                    <a:lnTo>
                      <a:pt x="576" y="3182"/>
                    </a:lnTo>
                    <a:lnTo>
                      <a:pt x="588" y="3202"/>
                    </a:lnTo>
                    <a:lnTo>
                      <a:pt x="592" y="3206"/>
                    </a:lnTo>
                    <a:lnTo>
                      <a:pt x="600" y="3214"/>
                    </a:lnTo>
                    <a:lnTo>
                      <a:pt x="610" y="3222"/>
                    </a:lnTo>
                    <a:lnTo>
                      <a:pt x="618" y="3226"/>
                    </a:lnTo>
                    <a:lnTo>
                      <a:pt x="624" y="3228"/>
                    </a:lnTo>
                    <a:lnTo>
                      <a:pt x="630" y="3230"/>
                    </a:lnTo>
                    <a:lnTo>
                      <a:pt x="634" y="3236"/>
                    </a:lnTo>
                    <a:lnTo>
                      <a:pt x="638" y="3244"/>
                    </a:lnTo>
                    <a:lnTo>
                      <a:pt x="638" y="3256"/>
                    </a:lnTo>
                    <a:lnTo>
                      <a:pt x="638" y="3262"/>
                    </a:lnTo>
                    <a:lnTo>
                      <a:pt x="638" y="3308"/>
                    </a:lnTo>
                    <a:lnTo>
                      <a:pt x="640" y="3324"/>
                    </a:lnTo>
                    <a:lnTo>
                      <a:pt x="646" y="3338"/>
                    </a:lnTo>
                    <a:lnTo>
                      <a:pt x="666" y="3368"/>
                    </a:lnTo>
                    <a:lnTo>
                      <a:pt x="682" y="3386"/>
                    </a:lnTo>
                    <a:lnTo>
                      <a:pt x="702" y="3404"/>
                    </a:lnTo>
                    <a:lnTo>
                      <a:pt x="716" y="3416"/>
                    </a:lnTo>
                    <a:lnTo>
                      <a:pt x="742" y="3440"/>
                    </a:lnTo>
                    <a:lnTo>
                      <a:pt x="748" y="3442"/>
                    </a:lnTo>
                    <a:lnTo>
                      <a:pt x="756" y="3442"/>
                    </a:lnTo>
                    <a:lnTo>
                      <a:pt x="776" y="3442"/>
                    </a:lnTo>
                    <a:lnTo>
                      <a:pt x="848" y="3436"/>
                    </a:lnTo>
                    <a:lnTo>
                      <a:pt x="858" y="3434"/>
                    </a:lnTo>
                    <a:lnTo>
                      <a:pt x="868" y="3426"/>
                    </a:lnTo>
                    <a:lnTo>
                      <a:pt x="874" y="3418"/>
                    </a:lnTo>
                    <a:lnTo>
                      <a:pt x="876" y="3406"/>
                    </a:lnTo>
                    <a:lnTo>
                      <a:pt x="876" y="3354"/>
                    </a:lnTo>
                    <a:lnTo>
                      <a:pt x="874" y="3342"/>
                    </a:lnTo>
                    <a:lnTo>
                      <a:pt x="872" y="3328"/>
                    </a:lnTo>
                    <a:lnTo>
                      <a:pt x="866" y="3318"/>
                    </a:lnTo>
                    <a:lnTo>
                      <a:pt x="862" y="3308"/>
                    </a:lnTo>
                    <a:lnTo>
                      <a:pt x="848" y="3288"/>
                    </a:lnTo>
                    <a:lnTo>
                      <a:pt x="836" y="3264"/>
                    </a:lnTo>
                    <a:lnTo>
                      <a:pt x="802" y="3194"/>
                    </a:lnTo>
                    <a:lnTo>
                      <a:pt x="792" y="3170"/>
                    </a:lnTo>
                    <a:lnTo>
                      <a:pt x="784" y="3144"/>
                    </a:lnTo>
                    <a:lnTo>
                      <a:pt x="782" y="3134"/>
                    </a:lnTo>
                    <a:lnTo>
                      <a:pt x="782" y="3120"/>
                    </a:lnTo>
                    <a:lnTo>
                      <a:pt x="782" y="3106"/>
                    </a:lnTo>
                    <a:lnTo>
                      <a:pt x="782" y="3094"/>
                    </a:lnTo>
                    <a:lnTo>
                      <a:pt x="788" y="3064"/>
                    </a:lnTo>
                    <a:lnTo>
                      <a:pt x="790" y="3036"/>
                    </a:lnTo>
                    <a:lnTo>
                      <a:pt x="792" y="3010"/>
                    </a:lnTo>
                    <a:lnTo>
                      <a:pt x="792" y="2932"/>
                    </a:lnTo>
                    <a:lnTo>
                      <a:pt x="792" y="2904"/>
                    </a:lnTo>
                    <a:lnTo>
                      <a:pt x="796" y="2876"/>
                    </a:lnTo>
                    <a:lnTo>
                      <a:pt x="816" y="2750"/>
                    </a:lnTo>
                    <a:lnTo>
                      <a:pt x="818" y="2724"/>
                    </a:lnTo>
                    <a:lnTo>
                      <a:pt x="816" y="2696"/>
                    </a:lnTo>
                    <a:lnTo>
                      <a:pt x="796" y="2594"/>
                    </a:lnTo>
                    <a:lnTo>
                      <a:pt x="792" y="2566"/>
                    </a:lnTo>
                    <a:lnTo>
                      <a:pt x="792" y="2538"/>
                    </a:lnTo>
                    <a:lnTo>
                      <a:pt x="792" y="2462"/>
                    </a:lnTo>
                    <a:lnTo>
                      <a:pt x="790" y="2406"/>
                    </a:lnTo>
                    <a:lnTo>
                      <a:pt x="780" y="2280"/>
                    </a:lnTo>
                    <a:lnTo>
                      <a:pt x="780" y="2254"/>
                    </a:lnTo>
                    <a:lnTo>
                      <a:pt x="782" y="2226"/>
                    </a:lnTo>
                    <a:lnTo>
                      <a:pt x="788" y="2196"/>
                    </a:lnTo>
                    <a:lnTo>
                      <a:pt x="794" y="2142"/>
                    </a:lnTo>
                    <a:lnTo>
                      <a:pt x="800" y="2086"/>
                    </a:lnTo>
                    <a:lnTo>
                      <a:pt x="804" y="2060"/>
                    </a:lnTo>
                    <a:lnTo>
                      <a:pt x="804" y="2032"/>
                    </a:lnTo>
                    <a:lnTo>
                      <a:pt x="804" y="1894"/>
                    </a:lnTo>
                    <a:lnTo>
                      <a:pt x="804" y="1868"/>
                    </a:lnTo>
                    <a:lnTo>
                      <a:pt x="800" y="1840"/>
                    </a:lnTo>
                    <a:lnTo>
                      <a:pt x="794" y="1784"/>
                    </a:lnTo>
                    <a:lnTo>
                      <a:pt x="790" y="1758"/>
                    </a:lnTo>
                    <a:lnTo>
                      <a:pt x="782" y="1732"/>
                    </a:lnTo>
                    <a:lnTo>
                      <a:pt x="772" y="1700"/>
                    </a:lnTo>
                    <a:lnTo>
                      <a:pt x="764" y="1678"/>
                    </a:lnTo>
                    <a:lnTo>
                      <a:pt x="762" y="1662"/>
                    </a:lnTo>
                    <a:lnTo>
                      <a:pt x="764" y="1656"/>
                    </a:lnTo>
                    <a:lnTo>
                      <a:pt x="766" y="1650"/>
                    </a:lnTo>
                    <a:lnTo>
                      <a:pt x="772" y="1644"/>
                    </a:lnTo>
                    <a:lnTo>
                      <a:pt x="776" y="1638"/>
                    </a:lnTo>
                    <a:lnTo>
                      <a:pt x="784" y="1634"/>
                    </a:lnTo>
                    <a:lnTo>
                      <a:pt x="792" y="1630"/>
                    </a:lnTo>
                    <a:lnTo>
                      <a:pt x="800" y="1630"/>
                    </a:lnTo>
                    <a:lnTo>
                      <a:pt x="806" y="1632"/>
                    </a:lnTo>
                    <a:lnTo>
                      <a:pt x="812" y="1634"/>
                    </a:lnTo>
                    <a:lnTo>
                      <a:pt x="818" y="1634"/>
                    </a:lnTo>
                    <a:lnTo>
                      <a:pt x="822" y="1630"/>
                    </a:lnTo>
                    <a:lnTo>
                      <a:pt x="826" y="1626"/>
                    </a:lnTo>
                    <a:lnTo>
                      <a:pt x="836" y="1614"/>
                    </a:lnTo>
                    <a:lnTo>
                      <a:pt x="846" y="1602"/>
                    </a:lnTo>
                    <a:lnTo>
                      <a:pt x="852" y="1598"/>
                    </a:lnTo>
                    <a:lnTo>
                      <a:pt x="860" y="1600"/>
                    </a:lnTo>
                    <a:lnTo>
                      <a:pt x="868" y="1604"/>
                    </a:lnTo>
                    <a:lnTo>
                      <a:pt x="874" y="1612"/>
                    </a:lnTo>
                    <a:lnTo>
                      <a:pt x="902" y="1650"/>
                    </a:lnTo>
                    <a:lnTo>
                      <a:pt x="914" y="1666"/>
                    </a:lnTo>
                    <a:lnTo>
                      <a:pt x="920" y="1672"/>
                    </a:lnTo>
                    <a:lnTo>
                      <a:pt x="924" y="1674"/>
                    </a:lnTo>
                    <a:lnTo>
                      <a:pt x="926" y="1674"/>
                    </a:lnTo>
                    <a:lnTo>
                      <a:pt x="930" y="1678"/>
                    </a:lnTo>
                    <a:lnTo>
                      <a:pt x="936" y="1692"/>
                    </a:lnTo>
                    <a:lnTo>
                      <a:pt x="942" y="1712"/>
                    </a:lnTo>
                    <a:lnTo>
                      <a:pt x="944" y="1738"/>
                    </a:lnTo>
                    <a:lnTo>
                      <a:pt x="944" y="1744"/>
                    </a:lnTo>
                    <a:lnTo>
                      <a:pt x="944" y="1798"/>
                    </a:lnTo>
                    <a:lnTo>
                      <a:pt x="944" y="2068"/>
                    </a:lnTo>
                    <a:lnTo>
                      <a:pt x="940" y="2096"/>
                    </a:lnTo>
                    <a:lnTo>
                      <a:pt x="936" y="2122"/>
                    </a:lnTo>
                    <a:lnTo>
                      <a:pt x="926" y="2154"/>
                    </a:lnTo>
                    <a:lnTo>
                      <a:pt x="918" y="2180"/>
                    </a:lnTo>
                    <a:lnTo>
                      <a:pt x="912" y="2208"/>
                    </a:lnTo>
                    <a:lnTo>
                      <a:pt x="906" y="2238"/>
                    </a:lnTo>
                    <a:lnTo>
                      <a:pt x="902" y="2264"/>
                    </a:lnTo>
                    <a:lnTo>
                      <a:pt x="902" y="2292"/>
                    </a:lnTo>
                    <a:lnTo>
                      <a:pt x="902" y="2358"/>
                    </a:lnTo>
                    <a:lnTo>
                      <a:pt x="898" y="2386"/>
                    </a:lnTo>
                    <a:lnTo>
                      <a:pt x="892" y="2412"/>
                    </a:lnTo>
                    <a:lnTo>
                      <a:pt x="868" y="2480"/>
                    </a:lnTo>
                    <a:lnTo>
                      <a:pt x="862" y="2506"/>
                    </a:lnTo>
                    <a:lnTo>
                      <a:pt x="856" y="2534"/>
                    </a:lnTo>
                    <a:lnTo>
                      <a:pt x="850" y="2576"/>
                    </a:lnTo>
                    <a:lnTo>
                      <a:pt x="844" y="2630"/>
                    </a:lnTo>
                    <a:lnTo>
                      <a:pt x="836" y="2720"/>
                    </a:lnTo>
                    <a:lnTo>
                      <a:pt x="836" y="2732"/>
                    </a:lnTo>
                    <a:lnTo>
                      <a:pt x="838" y="2744"/>
                    </a:lnTo>
                    <a:lnTo>
                      <a:pt x="842" y="2756"/>
                    </a:lnTo>
                    <a:lnTo>
                      <a:pt x="846" y="2764"/>
                    </a:lnTo>
                    <a:lnTo>
                      <a:pt x="850" y="2774"/>
                    </a:lnTo>
                    <a:lnTo>
                      <a:pt x="852" y="2782"/>
                    </a:lnTo>
                    <a:lnTo>
                      <a:pt x="850" y="2792"/>
                    </a:lnTo>
                    <a:lnTo>
                      <a:pt x="846" y="2802"/>
                    </a:lnTo>
                    <a:lnTo>
                      <a:pt x="842" y="2810"/>
                    </a:lnTo>
                    <a:lnTo>
                      <a:pt x="842" y="2820"/>
                    </a:lnTo>
                    <a:lnTo>
                      <a:pt x="846" y="2830"/>
                    </a:lnTo>
                    <a:lnTo>
                      <a:pt x="852" y="2840"/>
                    </a:lnTo>
                    <a:lnTo>
                      <a:pt x="858" y="2846"/>
                    </a:lnTo>
                    <a:lnTo>
                      <a:pt x="864" y="2856"/>
                    </a:lnTo>
                    <a:lnTo>
                      <a:pt x="870" y="2870"/>
                    </a:lnTo>
                    <a:lnTo>
                      <a:pt x="874" y="2882"/>
                    </a:lnTo>
                    <a:lnTo>
                      <a:pt x="876" y="2894"/>
                    </a:lnTo>
                    <a:lnTo>
                      <a:pt x="876" y="3020"/>
                    </a:lnTo>
                    <a:lnTo>
                      <a:pt x="876" y="3054"/>
                    </a:lnTo>
                    <a:lnTo>
                      <a:pt x="878" y="3062"/>
                    </a:lnTo>
                    <a:lnTo>
                      <a:pt x="882" y="3072"/>
                    </a:lnTo>
                    <a:lnTo>
                      <a:pt x="892" y="3086"/>
                    </a:lnTo>
                    <a:lnTo>
                      <a:pt x="910" y="3102"/>
                    </a:lnTo>
                    <a:lnTo>
                      <a:pt x="920" y="3110"/>
                    </a:lnTo>
                    <a:lnTo>
                      <a:pt x="928" y="3116"/>
                    </a:lnTo>
                    <a:lnTo>
                      <a:pt x="936" y="3120"/>
                    </a:lnTo>
                    <a:lnTo>
                      <a:pt x="944" y="3120"/>
                    </a:lnTo>
                    <a:lnTo>
                      <a:pt x="978" y="3120"/>
                    </a:lnTo>
                    <a:lnTo>
                      <a:pt x="1014" y="3120"/>
                    </a:lnTo>
                    <a:lnTo>
                      <a:pt x="1028" y="3120"/>
                    </a:lnTo>
                    <a:lnTo>
                      <a:pt x="1040" y="3116"/>
                    </a:lnTo>
                    <a:lnTo>
                      <a:pt x="1046" y="3110"/>
                    </a:lnTo>
                    <a:lnTo>
                      <a:pt x="1052" y="3104"/>
                    </a:lnTo>
                    <a:lnTo>
                      <a:pt x="1058" y="3094"/>
                    </a:lnTo>
                    <a:lnTo>
                      <a:pt x="1062" y="3084"/>
                    </a:lnTo>
                    <a:lnTo>
                      <a:pt x="1068" y="3060"/>
                    </a:lnTo>
                    <a:lnTo>
                      <a:pt x="1070" y="3036"/>
                    </a:lnTo>
                    <a:lnTo>
                      <a:pt x="1068" y="3024"/>
                    </a:lnTo>
                    <a:lnTo>
                      <a:pt x="1066" y="3012"/>
                    </a:lnTo>
                    <a:lnTo>
                      <a:pt x="1062" y="2998"/>
                    </a:lnTo>
                    <a:lnTo>
                      <a:pt x="1058" y="2986"/>
                    </a:lnTo>
                    <a:lnTo>
                      <a:pt x="1052" y="2976"/>
                    </a:lnTo>
                    <a:lnTo>
                      <a:pt x="1028" y="2926"/>
                    </a:lnTo>
                    <a:lnTo>
                      <a:pt x="1024" y="2914"/>
                    </a:lnTo>
                    <a:lnTo>
                      <a:pt x="1020" y="2904"/>
                    </a:lnTo>
                    <a:lnTo>
                      <a:pt x="1020" y="2890"/>
                    </a:lnTo>
                    <a:lnTo>
                      <a:pt x="1022" y="2878"/>
                    </a:lnTo>
                    <a:lnTo>
                      <a:pt x="1028" y="2868"/>
                    </a:lnTo>
                    <a:lnTo>
                      <a:pt x="1038" y="2854"/>
                    </a:lnTo>
                    <a:lnTo>
                      <a:pt x="1044" y="2842"/>
                    </a:lnTo>
                    <a:lnTo>
                      <a:pt x="1050" y="2830"/>
                    </a:lnTo>
                    <a:lnTo>
                      <a:pt x="1052" y="2818"/>
                    </a:lnTo>
                    <a:lnTo>
                      <a:pt x="1054" y="2806"/>
                    </a:lnTo>
                    <a:lnTo>
                      <a:pt x="1054" y="2796"/>
                    </a:lnTo>
                    <a:lnTo>
                      <a:pt x="1058" y="2782"/>
                    </a:lnTo>
                    <a:lnTo>
                      <a:pt x="1062" y="2770"/>
                    </a:lnTo>
                    <a:lnTo>
                      <a:pt x="1066" y="2758"/>
                    </a:lnTo>
                    <a:lnTo>
                      <a:pt x="1084" y="2724"/>
                    </a:lnTo>
                    <a:lnTo>
                      <a:pt x="1094" y="2698"/>
                    </a:lnTo>
                    <a:lnTo>
                      <a:pt x="1102" y="2672"/>
                    </a:lnTo>
                    <a:lnTo>
                      <a:pt x="1144" y="2520"/>
                    </a:lnTo>
                    <a:lnTo>
                      <a:pt x="1156" y="2466"/>
                    </a:lnTo>
                    <a:lnTo>
                      <a:pt x="1188" y="2266"/>
                    </a:lnTo>
                    <a:lnTo>
                      <a:pt x="1200" y="2214"/>
                    </a:lnTo>
                    <a:lnTo>
                      <a:pt x="1228" y="2110"/>
                    </a:lnTo>
                    <a:lnTo>
                      <a:pt x="1240" y="2058"/>
                    </a:lnTo>
                    <a:lnTo>
                      <a:pt x="1256" y="1990"/>
                    </a:lnTo>
                    <a:lnTo>
                      <a:pt x="1258" y="1980"/>
                    </a:lnTo>
                    <a:lnTo>
                      <a:pt x="1262" y="1974"/>
                    </a:lnTo>
                    <a:lnTo>
                      <a:pt x="1266" y="1972"/>
                    </a:lnTo>
                    <a:lnTo>
                      <a:pt x="1268" y="1976"/>
                    </a:lnTo>
                    <a:lnTo>
                      <a:pt x="1272" y="1982"/>
                    </a:lnTo>
                    <a:lnTo>
                      <a:pt x="1274" y="1992"/>
                    </a:lnTo>
                    <a:lnTo>
                      <a:pt x="1276" y="2016"/>
                    </a:lnTo>
                    <a:lnTo>
                      <a:pt x="1276" y="2080"/>
                    </a:lnTo>
                    <a:lnTo>
                      <a:pt x="1278" y="2106"/>
                    </a:lnTo>
                    <a:lnTo>
                      <a:pt x="1282" y="2134"/>
                    </a:lnTo>
                    <a:lnTo>
                      <a:pt x="1284" y="2142"/>
                    </a:lnTo>
                    <a:lnTo>
                      <a:pt x="1286" y="2154"/>
                    </a:lnTo>
                    <a:lnTo>
                      <a:pt x="1286" y="2168"/>
                    </a:lnTo>
                    <a:lnTo>
                      <a:pt x="1282" y="2182"/>
                    </a:lnTo>
                    <a:lnTo>
                      <a:pt x="1278" y="2194"/>
                    </a:lnTo>
                    <a:lnTo>
                      <a:pt x="1274" y="2204"/>
                    </a:lnTo>
                    <a:lnTo>
                      <a:pt x="1268" y="2216"/>
                    </a:lnTo>
                    <a:lnTo>
                      <a:pt x="1264" y="2228"/>
                    </a:lnTo>
                    <a:lnTo>
                      <a:pt x="1262" y="2242"/>
                    </a:lnTo>
                    <a:lnTo>
                      <a:pt x="1262" y="2256"/>
                    </a:lnTo>
                    <a:lnTo>
                      <a:pt x="1262" y="2262"/>
                    </a:lnTo>
                    <a:lnTo>
                      <a:pt x="1262" y="2318"/>
                    </a:lnTo>
                    <a:lnTo>
                      <a:pt x="1262" y="2358"/>
                    </a:lnTo>
                    <a:lnTo>
                      <a:pt x="1258" y="2414"/>
                    </a:lnTo>
                    <a:lnTo>
                      <a:pt x="1252" y="2480"/>
                    </a:lnTo>
                    <a:lnTo>
                      <a:pt x="1246" y="2534"/>
                    </a:lnTo>
                    <a:lnTo>
                      <a:pt x="1238" y="2598"/>
                    </a:lnTo>
                    <a:lnTo>
                      <a:pt x="1234" y="2620"/>
                    </a:lnTo>
                    <a:lnTo>
                      <a:pt x="1228" y="2638"/>
                    </a:lnTo>
                    <a:lnTo>
                      <a:pt x="1222" y="2654"/>
                    </a:lnTo>
                    <a:lnTo>
                      <a:pt x="1214" y="2678"/>
                    </a:lnTo>
                    <a:lnTo>
                      <a:pt x="1212" y="2682"/>
                    </a:lnTo>
                    <a:lnTo>
                      <a:pt x="1212" y="2696"/>
                    </a:lnTo>
                    <a:lnTo>
                      <a:pt x="1212" y="2708"/>
                    </a:lnTo>
                    <a:lnTo>
                      <a:pt x="1216" y="2722"/>
                    </a:lnTo>
                    <a:lnTo>
                      <a:pt x="1220" y="2734"/>
                    </a:lnTo>
                    <a:lnTo>
                      <a:pt x="1226" y="2746"/>
                    </a:lnTo>
                    <a:lnTo>
                      <a:pt x="1230" y="2758"/>
                    </a:lnTo>
                    <a:lnTo>
                      <a:pt x="1234" y="2772"/>
                    </a:lnTo>
                    <a:lnTo>
                      <a:pt x="1234" y="2786"/>
                    </a:lnTo>
                    <a:lnTo>
                      <a:pt x="1234" y="2816"/>
                    </a:lnTo>
                    <a:lnTo>
                      <a:pt x="1236" y="2826"/>
                    </a:lnTo>
                    <a:lnTo>
                      <a:pt x="1242" y="2838"/>
                    </a:lnTo>
                    <a:lnTo>
                      <a:pt x="1250" y="2848"/>
                    </a:lnTo>
                    <a:lnTo>
                      <a:pt x="1260" y="2854"/>
                    </a:lnTo>
                    <a:lnTo>
                      <a:pt x="1266" y="2856"/>
                    </a:lnTo>
                    <a:lnTo>
                      <a:pt x="1284" y="2864"/>
                    </a:lnTo>
                    <a:lnTo>
                      <a:pt x="1296" y="2868"/>
                    </a:lnTo>
                    <a:lnTo>
                      <a:pt x="1300" y="2870"/>
                    </a:lnTo>
                    <a:lnTo>
                      <a:pt x="1306" y="2874"/>
                    </a:lnTo>
                    <a:lnTo>
                      <a:pt x="1318" y="2890"/>
                    </a:lnTo>
                    <a:lnTo>
                      <a:pt x="1330" y="2904"/>
                    </a:lnTo>
                    <a:lnTo>
                      <a:pt x="1344" y="2924"/>
                    </a:lnTo>
                    <a:lnTo>
                      <a:pt x="1360" y="2940"/>
                    </a:lnTo>
                    <a:lnTo>
                      <a:pt x="1374" y="2950"/>
                    </a:lnTo>
                    <a:lnTo>
                      <a:pt x="1388" y="2958"/>
                    </a:lnTo>
                    <a:lnTo>
                      <a:pt x="1414" y="2970"/>
                    </a:lnTo>
                    <a:lnTo>
                      <a:pt x="1456" y="2982"/>
                    </a:lnTo>
                    <a:lnTo>
                      <a:pt x="1458" y="2982"/>
                    </a:lnTo>
                    <a:lnTo>
                      <a:pt x="1470" y="2984"/>
                    </a:lnTo>
                    <a:lnTo>
                      <a:pt x="1484" y="2984"/>
                    </a:lnTo>
                    <a:lnTo>
                      <a:pt x="1498" y="2982"/>
                    </a:lnTo>
                    <a:lnTo>
                      <a:pt x="1510" y="2980"/>
                    </a:lnTo>
                    <a:lnTo>
                      <a:pt x="1526" y="2972"/>
                    </a:lnTo>
                    <a:lnTo>
                      <a:pt x="1538" y="2968"/>
                    </a:lnTo>
                    <a:lnTo>
                      <a:pt x="1548" y="2960"/>
                    </a:lnTo>
                    <a:lnTo>
                      <a:pt x="1556" y="2952"/>
                    </a:lnTo>
                    <a:lnTo>
                      <a:pt x="1560" y="2946"/>
                    </a:lnTo>
                    <a:lnTo>
                      <a:pt x="1562" y="2936"/>
                    </a:lnTo>
                    <a:lnTo>
                      <a:pt x="1560" y="2926"/>
                    </a:lnTo>
                    <a:lnTo>
                      <a:pt x="1556" y="2918"/>
                    </a:lnTo>
                    <a:lnTo>
                      <a:pt x="1548" y="2908"/>
                    </a:lnTo>
                    <a:lnTo>
                      <a:pt x="1534" y="2896"/>
                    </a:lnTo>
                    <a:lnTo>
                      <a:pt x="1494" y="2860"/>
                    </a:lnTo>
                    <a:lnTo>
                      <a:pt x="1474" y="2840"/>
                    </a:lnTo>
                    <a:lnTo>
                      <a:pt x="1458" y="2818"/>
                    </a:lnTo>
                    <a:lnTo>
                      <a:pt x="1442" y="2796"/>
                    </a:lnTo>
                    <a:lnTo>
                      <a:pt x="1438" y="2784"/>
                    </a:lnTo>
                    <a:lnTo>
                      <a:pt x="1434" y="2770"/>
                    </a:lnTo>
                    <a:lnTo>
                      <a:pt x="1430" y="2756"/>
                    </a:lnTo>
                    <a:lnTo>
                      <a:pt x="1430" y="2744"/>
                    </a:lnTo>
                    <a:lnTo>
                      <a:pt x="1430" y="2738"/>
                    </a:lnTo>
                    <a:lnTo>
                      <a:pt x="1432" y="2726"/>
                    </a:lnTo>
                    <a:lnTo>
                      <a:pt x="1436" y="2714"/>
                    </a:lnTo>
                    <a:lnTo>
                      <a:pt x="1442" y="2704"/>
                    </a:lnTo>
                    <a:lnTo>
                      <a:pt x="1450" y="2698"/>
                    </a:lnTo>
                    <a:lnTo>
                      <a:pt x="1458" y="2692"/>
                    </a:lnTo>
                    <a:lnTo>
                      <a:pt x="1466" y="2684"/>
                    </a:lnTo>
                    <a:lnTo>
                      <a:pt x="1470" y="2676"/>
                    </a:lnTo>
                    <a:lnTo>
                      <a:pt x="1472" y="2668"/>
                    </a:lnTo>
                    <a:lnTo>
                      <a:pt x="1474" y="2624"/>
                    </a:lnTo>
                    <a:lnTo>
                      <a:pt x="1480" y="2568"/>
                    </a:lnTo>
                    <a:lnTo>
                      <a:pt x="1486" y="2542"/>
                    </a:lnTo>
                    <a:lnTo>
                      <a:pt x="1492" y="2514"/>
                    </a:lnTo>
                    <a:lnTo>
                      <a:pt x="1506" y="2472"/>
                    </a:lnTo>
                    <a:lnTo>
                      <a:pt x="1512" y="2444"/>
                    </a:lnTo>
                    <a:lnTo>
                      <a:pt x="1516" y="2418"/>
                    </a:lnTo>
                    <a:lnTo>
                      <a:pt x="1524" y="2328"/>
                    </a:lnTo>
                    <a:lnTo>
                      <a:pt x="1528" y="2302"/>
                    </a:lnTo>
                    <a:lnTo>
                      <a:pt x="1536" y="2274"/>
                    </a:lnTo>
                    <a:lnTo>
                      <a:pt x="1572" y="2158"/>
                    </a:lnTo>
                    <a:lnTo>
                      <a:pt x="1588" y="2106"/>
                    </a:lnTo>
                    <a:lnTo>
                      <a:pt x="1616" y="1978"/>
                    </a:lnTo>
                    <a:lnTo>
                      <a:pt x="1630" y="1924"/>
                    </a:lnTo>
                    <a:lnTo>
                      <a:pt x="1660" y="1810"/>
                    </a:lnTo>
                    <a:lnTo>
                      <a:pt x="1664" y="1784"/>
                    </a:lnTo>
                    <a:lnTo>
                      <a:pt x="1666" y="1758"/>
                    </a:lnTo>
                    <a:lnTo>
                      <a:pt x="1668" y="1748"/>
                    </a:lnTo>
                    <a:lnTo>
                      <a:pt x="1672" y="1736"/>
                    </a:lnTo>
                    <a:lnTo>
                      <a:pt x="1678" y="1724"/>
                    </a:lnTo>
                    <a:lnTo>
                      <a:pt x="1684" y="1716"/>
                    </a:lnTo>
                    <a:lnTo>
                      <a:pt x="1728" y="1670"/>
                    </a:lnTo>
                    <a:lnTo>
                      <a:pt x="1734" y="1660"/>
                    </a:lnTo>
                    <a:lnTo>
                      <a:pt x="1740" y="1648"/>
                    </a:lnTo>
                    <a:lnTo>
                      <a:pt x="1744" y="1636"/>
                    </a:lnTo>
                    <a:lnTo>
                      <a:pt x="1746" y="1624"/>
                    </a:lnTo>
                    <a:lnTo>
                      <a:pt x="1746" y="1582"/>
                    </a:lnTo>
                    <a:lnTo>
                      <a:pt x="1746" y="1528"/>
                    </a:lnTo>
                    <a:lnTo>
                      <a:pt x="1746" y="1446"/>
                    </a:lnTo>
                    <a:close/>
                    <a:moveTo>
                      <a:pt x="190" y="614"/>
                    </a:moveTo>
                    <a:lnTo>
                      <a:pt x="190" y="614"/>
                    </a:lnTo>
                    <a:lnTo>
                      <a:pt x="186" y="614"/>
                    </a:lnTo>
                    <a:lnTo>
                      <a:pt x="190" y="614"/>
                    </a:lnTo>
                    <a:lnTo>
                      <a:pt x="192" y="614"/>
                    </a:lnTo>
                    <a:lnTo>
                      <a:pt x="190" y="6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2" name="Tåre 105"/>
            <p:cNvSpPr/>
            <p:nvPr/>
          </p:nvSpPr>
          <p:spPr bwMode="auto">
            <a:xfrm rot="8100000">
              <a:off x="4036958" y="1703773"/>
              <a:ext cx="1098326" cy="1103903"/>
            </a:xfrm>
            <a:prstGeom prst="teardrop">
              <a:avLst/>
            </a:prstGeom>
            <a:gradFill flip="none" rotWithShape="1">
              <a:gsLst>
                <a:gs pos="0">
                  <a:schemeClr val="bg2"/>
                </a:gs>
                <a:gs pos="86000">
                  <a:srgbClr val="F0B71F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43" name="Tåre 106"/>
            <p:cNvSpPr/>
            <p:nvPr/>
          </p:nvSpPr>
          <p:spPr bwMode="auto">
            <a:xfrm rot="8100000">
              <a:off x="4106230" y="1861514"/>
              <a:ext cx="958565" cy="963432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44" name="Måne 107"/>
            <p:cNvSpPr/>
            <p:nvPr/>
          </p:nvSpPr>
          <p:spPr bwMode="auto">
            <a:xfrm rot="5245033">
              <a:off x="4394713" y="1439951"/>
              <a:ext cx="382819" cy="949338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21543" name="Gruppe 46"/>
            <p:cNvGrpSpPr>
              <a:grpSpLocks/>
            </p:cNvGrpSpPr>
            <p:nvPr/>
          </p:nvGrpSpPr>
          <p:grpSpPr bwMode="auto">
            <a:xfrm>
              <a:off x="4260850" y="2005013"/>
              <a:ext cx="747713" cy="555625"/>
              <a:chOff x="4821610" y="587829"/>
              <a:chExt cx="2393544" cy="1781593"/>
            </a:xfrm>
          </p:grpSpPr>
          <p:sp>
            <p:nvSpPr>
              <p:cNvPr id="21554" name="Freeform 528"/>
              <p:cNvSpPr>
                <a:spLocks/>
              </p:cNvSpPr>
              <p:nvPr/>
            </p:nvSpPr>
            <p:spPr bwMode="auto">
              <a:xfrm>
                <a:off x="4821610" y="587829"/>
                <a:ext cx="2393544" cy="1781593"/>
              </a:xfrm>
              <a:custGeom>
                <a:avLst/>
                <a:gdLst>
                  <a:gd name="T0" fmla="*/ 2147483647 w 794"/>
                  <a:gd name="T1" fmla="*/ 2147483647 h 591"/>
                  <a:gd name="T2" fmla="*/ 2147483647 w 794"/>
                  <a:gd name="T3" fmla="*/ 2147483647 h 591"/>
                  <a:gd name="T4" fmla="*/ 2147483647 w 794"/>
                  <a:gd name="T5" fmla="*/ 2147483647 h 591"/>
                  <a:gd name="T6" fmla="*/ 2147483647 w 794"/>
                  <a:gd name="T7" fmla="*/ 2147483647 h 591"/>
                  <a:gd name="T8" fmla="*/ 2147483647 w 794"/>
                  <a:gd name="T9" fmla="*/ 2147483647 h 591"/>
                  <a:gd name="T10" fmla="*/ 2147483647 w 794"/>
                  <a:gd name="T11" fmla="*/ 2147483647 h 591"/>
                  <a:gd name="T12" fmla="*/ 2147483647 w 794"/>
                  <a:gd name="T13" fmla="*/ 2147483647 h 591"/>
                  <a:gd name="T14" fmla="*/ 2147483647 w 794"/>
                  <a:gd name="T15" fmla="*/ 2147483647 h 591"/>
                  <a:gd name="T16" fmla="*/ 2147483647 w 794"/>
                  <a:gd name="T17" fmla="*/ 2147483647 h 591"/>
                  <a:gd name="T18" fmla="*/ 2147483647 w 794"/>
                  <a:gd name="T19" fmla="*/ 2147483647 h 591"/>
                  <a:gd name="T20" fmla="*/ 2147483647 w 794"/>
                  <a:gd name="T21" fmla="*/ 2147483647 h 591"/>
                  <a:gd name="T22" fmla="*/ 2147483647 w 794"/>
                  <a:gd name="T23" fmla="*/ 2147483647 h 591"/>
                  <a:gd name="T24" fmla="*/ 2147483647 w 794"/>
                  <a:gd name="T25" fmla="*/ 2147483647 h 591"/>
                  <a:gd name="T26" fmla="*/ 2147483647 w 794"/>
                  <a:gd name="T27" fmla="*/ 2147483647 h 591"/>
                  <a:gd name="T28" fmla="*/ 2147483647 w 794"/>
                  <a:gd name="T29" fmla="*/ 2147483647 h 591"/>
                  <a:gd name="T30" fmla="*/ 2147483647 w 794"/>
                  <a:gd name="T31" fmla="*/ 2147483647 h 591"/>
                  <a:gd name="T32" fmla="*/ 2147483647 w 794"/>
                  <a:gd name="T33" fmla="*/ 2147483647 h 591"/>
                  <a:gd name="T34" fmla="*/ 2147483647 w 794"/>
                  <a:gd name="T35" fmla="*/ 2147483647 h 591"/>
                  <a:gd name="T36" fmla="*/ 2147483647 w 794"/>
                  <a:gd name="T37" fmla="*/ 2147483647 h 591"/>
                  <a:gd name="T38" fmla="*/ 2147483647 w 794"/>
                  <a:gd name="T39" fmla="*/ 2147483647 h 591"/>
                  <a:gd name="T40" fmla="*/ 2147483647 w 794"/>
                  <a:gd name="T41" fmla="*/ 2147483647 h 591"/>
                  <a:gd name="T42" fmla="*/ 2147483647 w 794"/>
                  <a:gd name="T43" fmla="*/ 0 h 591"/>
                  <a:gd name="T44" fmla="*/ 2147483647 w 794"/>
                  <a:gd name="T45" fmla="*/ 2147483647 h 591"/>
                  <a:gd name="T46" fmla="*/ 2147483647 w 794"/>
                  <a:gd name="T47" fmla="*/ 2147483647 h 591"/>
                  <a:gd name="T48" fmla="*/ 2147483647 w 794"/>
                  <a:gd name="T49" fmla="*/ 2147483647 h 591"/>
                  <a:gd name="T50" fmla="*/ 2147483647 w 794"/>
                  <a:gd name="T51" fmla="*/ 2147483647 h 591"/>
                  <a:gd name="T52" fmla="*/ 2147483647 w 794"/>
                  <a:gd name="T53" fmla="*/ 2147483647 h 591"/>
                  <a:gd name="T54" fmla="*/ 0 w 794"/>
                  <a:gd name="T55" fmla="*/ 2147483647 h 591"/>
                  <a:gd name="T56" fmla="*/ 2147483647 w 794"/>
                  <a:gd name="T57" fmla="*/ 2147483647 h 591"/>
                  <a:gd name="T58" fmla="*/ 2147483647 w 794"/>
                  <a:gd name="T59" fmla="*/ 2147483647 h 591"/>
                  <a:gd name="T60" fmla="*/ 2147483647 w 794"/>
                  <a:gd name="T61" fmla="*/ 2147483647 h 591"/>
                  <a:gd name="T62" fmla="*/ 2147483647 w 794"/>
                  <a:gd name="T63" fmla="*/ 2147483647 h 591"/>
                  <a:gd name="T64" fmla="*/ 2147483647 w 794"/>
                  <a:gd name="T65" fmla="*/ 2147483647 h 591"/>
                  <a:gd name="T66" fmla="*/ 2147483647 w 794"/>
                  <a:gd name="T67" fmla="*/ 2147483647 h 591"/>
                  <a:gd name="T68" fmla="*/ 2147483647 w 794"/>
                  <a:gd name="T69" fmla="*/ 2147483647 h 591"/>
                  <a:gd name="T70" fmla="*/ 2147483647 w 794"/>
                  <a:gd name="T71" fmla="*/ 2147483647 h 591"/>
                  <a:gd name="T72" fmla="*/ 2147483647 w 794"/>
                  <a:gd name="T73" fmla="*/ 2147483647 h 591"/>
                  <a:gd name="T74" fmla="*/ 2147483647 w 794"/>
                  <a:gd name="T75" fmla="*/ 2147483647 h 591"/>
                  <a:gd name="T76" fmla="*/ 2147483647 w 794"/>
                  <a:gd name="T77" fmla="*/ 2147483647 h 591"/>
                  <a:gd name="T78" fmla="*/ 2147483647 w 794"/>
                  <a:gd name="T79" fmla="*/ 2147483647 h 591"/>
                  <a:gd name="T80" fmla="*/ 2147483647 w 794"/>
                  <a:gd name="T81" fmla="*/ 2147483647 h 591"/>
                  <a:gd name="T82" fmla="*/ 2147483647 w 794"/>
                  <a:gd name="T83" fmla="*/ 2147483647 h 591"/>
                  <a:gd name="T84" fmla="*/ 2147483647 w 794"/>
                  <a:gd name="T85" fmla="*/ 2147483647 h 591"/>
                  <a:gd name="T86" fmla="*/ 2147483647 w 794"/>
                  <a:gd name="T87" fmla="*/ 2147483647 h 591"/>
                  <a:gd name="T88" fmla="*/ 2147483647 w 794"/>
                  <a:gd name="T89" fmla="*/ 2147483647 h 591"/>
                  <a:gd name="T90" fmla="*/ 2147483647 w 794"/>
                  <a:gd name="T91" fmla="*/ 2147483647 h 591"/>
                  <a:gd name="T92" fmla="*/ 2147483647 w 794"/>
                  <a:gd name="T93" fmla="*/ 2147483647 h 591"/>
                  <a:gd name="T94" fmla="*/ 2147483647 w 794"/>
                  <a:gd name="T95" fmla="*/ 2147483647 h 591"/>
                  <a:gd name="T96" fmla="*/ 2147483647 w 794"/>
                  <a:gd name="T97" fmla="*/ 2147483647 h 591"/>
                  <a:gd name="T98" fmla="*/ 2147483647 w 794"/>
                  <a:gd name="T99" fmla="*/ 2147483647 h 591"/>
                  <a:gd name="T100" fmla="*/ 2147483647 w 794"/>
                  <a:gd name="T101" fmla="*/ 2147483647 h 5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94"/>
                  <a:gd name="T154" fmla="*/ 0 h 591"/>
                  <a:gd name="T155" fmla="*/ 794 w 794"/>
                  <a:gd name="T156" fmla="*/ 591 h 5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94" h="591">
                    <a:moveTo>
                      <a:pt x="783" y="463"/>
                    </a:moveTo>
                    <a:lnTo>
                      <a:pt x="771" y="468"/>
                    </a:lnTo>
                    <a:lnTo>
                      <a:pt x="757" y="474"/>
                    </a:lnTo>
                    <a:lnTo>
                      <a:pt x="742" y="480"/>
                    </a:lnTo>
                    <a:lnTo>
                      <a:pt x="719" y="486"/>
                    </a:lnTo>
                    <a:lnTo>
                      <a:pt x="704" y="486"/>
                    </a:lnTo>
                    <a:lnTo>
                      <a:pt x="698" y="486"/>
                    </a:lnTo>
                    <a:lnTo>
                      <a:pt x="687" y="480"/>
                    </a:lnTo>
                    <a:lnTo>
                      <a:pt x="675" y="480"/>
                    </a:lnTo>
                    <a:lnTo>
                      <a:pt x="660" y="480"/>
                    </a:lnTo>
                    <a:lnTo>
                      <a:pt x="655" y="486"/>
                    </a:lnTo>
                    <a:lnTo>
                      <a:pt x="617" y="474"/>
                    </a:lnTo>
                    <a:lnTo>
                      <a:pt x="620" y="428"/>
                    </a:lnTo>
                    <a:lnTo>
                      <a:pt x="570" y="404"/>
                    </a:lnTo>
                    <a:lnTo>
                      <a:pt x="556" y="404"/>
                    </a:lnTo>
                    <a:lnTo>
                      <a:pt x="521" y="387"/>
                    </a:lnTo>
                    <a:lnTo>
                      <a:pt x="480" y="375"/>
                    </a:lnTo>
                    <a:lnTo>
                      <a:pt x="474" y="369"/>
                    </a:lnTo>
                    <a:lnTo>
                      <a:pt x="460" y="361"/>
                    </a:lnTo>
                    <a:lnTo>
                      <a:pt x="445" y="364"/>
                    </a:lnTo>
                    <a:lnTo>
                      <a:pt x="419" y="340"/>
                    </a:lnTo>
                    <a:lnTo>
                      <a:pt x="401" y="335"/>
                    </a:lnTo>
                    <a:lnTo>
                      <a:pt x="375" y="329"/>
                    </a:lnTo>
                    <a:lnTo>
                      <a:pt x="320" y="332"/>
                    </a:lnTo>
                    <a:lnTo>
                      <a:pt x="326" y="311"/>
                    </a:lnTo>
                    <a:lnTo>
                      <a:pt x="305" y="303"/>
                    </a:lnTo>
                    <a:lnTo>
                      <a:pt x="265" y="308"/>
                    </a:lnTo>
                    <a:lnTo>
                      <a:pt x="285" y="288"/>
                    </a:lnTo>
                    <a:lnTo>
                      <a:pt x="297" y="282"/>
                    </a:lnTo>
                    <a:lnTo>
                      <a:pt x="308" y="271"/>
                    </a:lnTo>
                    <a:lnTo>
                      <a:pt x="314" y="262"/>
                    </a:lnTo>
                    <a:lnTo>
                      <a:pt x="352" y="241"/>
                    </a:lnTo>
                    <a:lnTo>
                      <a:pt x="381" y="256"/>
                    </a:lnTo>
                    <a:lnTo>
                      <a:pt x="407" y="271"/>
                    </a:lnTo>
                    <a:lnTo>
                      <a:pt x="451" y="294"/>
                    </a:lnTo>
                    <a:lnTo>
                      <a:pt x="465" y="294"/>
                    </a:lnTo>
                    <a:lnTo>
                      <a:pt x="477" y="291"/>
                    </a:lnTo>
                    <a:lnTo>
                      <a:pt x="483" y="285"/>
                    </a:lnTo>
                    <a:lnTo>
                      <a:pt x="506" y="262"/>
                    </a:lnTo>
                    <a:lnTo>
                      <a:pt x="532" y="239"/>
                    </a:lnTo>
                    <a:lnTo>
                      <a:pt x="564" y="212"/>
                    </a:lnTo>
                    <a:lnTo>
                      <a:pt x="562" y="198"/>
                    </a:lnTo>
                    <a:lnTo>
                      <a:pt x="564" y="189"/>
                    </a:lnTo>
                    <a:lnTo>
                      <a:pt x="579" y="166"/>
                    </a:lnTo>
                    <a:lnTo>
                      <a:pt x="588" y="157"/>
                    </a:lnTo>
                    <a:lnTo>
                      <a:pt x="596" y="148"/>
                    </a:lnTo>
                    <a:lnTo>
                      <a:pt x="602" y="137"/>
                    </a:lnTo>
                    <a:lnTo>
                      <a:pt x="605" y="113"/>
                    </a:lnTo>
                    <a:lnTo>
                      <a:pt x="596" y="105"/>
                    </a:lnTo>
                    <a:lnTo>
                      <a:pt x="559" y="105"/>
                    </a:lnTo>
                    <a:lnTo>
                      <a:pt x="556" y="111"/>
                    </a:lnTo>
                    <a:lnTo>
                      <a:pt x="541" y="122"/>
                    </a:lnTo>
                    <a:lnTo>
                      <a:pt x="541" y="128"/>
                    </a:lnTo>
                    <a:lnTo>
                      <a:pt x="541" y="134"/>
                    </a:lnTo>
                    <a:lnTo>
                      <a:pt x="541" y="137"/>
                    </a:lnTo>
                    <a:lnTo>
                      <a:pt x="544" y="148"/>
                    </a:lnTo>
                    <a:lnTo>
                      <a:pt x="541" y="157"/>
                    </a:lnTo>
                    <a:lnTo>
                      <a:pt x="535" y="169"/>
                    </a:lnTo>
                    <a:lnTo>
                      <a:pt x="509" y="198"/>
                    </a:lnTo>
                    <a:lnTo>
                      <a:pt x="486" y="209"/>
                    </a:lnTo>
                    <a:lnTo>
                      <a:pt x="465" y="227"/>
                    </a:lnTo>
                    <a:lnTo>
                      <a:pt x="457" y="233"/>
                    </a:lnTo>
                    <a:lnTo>
                      <a:pt x="451" y="230"/>
                    </a:lnTo>
                    <a:lnTo>
                      <a:pt x="448" y="224"/>
                    </a:lnTo>
                    <a:lnTo>
                      <a:pt x="422" y="207"/>
                    </a:lnTo>
                    <a:lnTo>
                      <a:pt x="407" y="186"/>
                    </a:lnTo>
                    <a:lnTo>
                      <a:pt x="416" y="160"/>
                    </a:lnTo>
                    <a:lnTo>
                      <a:pt x="410" y="145"/>
                    </a:lnTo>
                    <a:lnTo>
                      <a:pt x="399" y="140"/>
                    </a:lnTo>
                    <a:lnTo>
                      <a:pt x="407" y="137"/>
                    </a:lnTo>
                    <a:lnTo>
                      <a:pt x="413" y="131"/>
                    </a:lnTo>
                    <a:lnTo>
                      <a:pt x="413" y="111"/>
                    </a:lnTo>
                    <a:lnTo>
                      <a:pt x="419" y="96"/>
                    </a:lnTo>
                    <a:lnTo>
                      <a:pt x="422" y="96"/>
                    </a:lnTo>
                    <a:lnTo>
                      <a:pt x="425" y="93"/>
                    </a:lnTo>
                    <a:lnTo>
                      <a:pt x="428" y="90"/>
                    </a:lnTo>
                    <a:lnTo>
                      <a:pt x="422" y="76"/>
                    </a:lnTo>
                    <a:lnTo>
                      <a:pt x="425" y="55"/>
                    </a:lnTo>
                    <a:lnTo>
                      <a:pt x="422" y="44"/>
                    </a:lnTo>
                    <a:lnTo>
                      <a:pt x="428" y="44"/>
                    </a:lnTo>
                    <a:lnTo>
                      <a:pt x="431" y="41"/>
                    </a:lnTo>
                    <a:lnTo>
                      <a:pt x="433" y="35"/>
                    </a:lnTo>
                    <a:lnTo>
                      <a:pt x="431" y="32"/>
                    </a:lnTo>
                    <a:lnTo>
                      <a:pt x="422" y="26"/>
                    </a:lnTo>
                    <a:lnTo>
                      <a:pt x="416" y="20"/>
                    </a:lnTo>
                    <a:lnTo>
                      <a:pt x="407" y="12"/>
                    </a:lnTo>
                    <a:lnTo>
                      <a:pt x="399" y="9"/>
                    </a:lnTo>
                    <a:lnTo>
                      <a:pt x="390" y="6"/>
                    </a:lnTo>
                    <a:lnTo>
                      <a:pt x="378" y="3"/>
                    </a:lnTo>
                    <a:lnTo>
                      <a:pt x="367" y="0"/>
                    </a:lnTo>
                    <a:lnTo>
                      <a:pt x="358" y="0"/>
                    </a:lnTo>
                    <a:lnTo>
                      <a:pt x="343" y="6"/>
                    </a:lnTo>
                    <a:lnTo>
                      <a:pt x="334" y="9"/>
                    </a:lnTo>
                    <a:lnTo>
                      <a:pt x="329" y="15"/>
                    </a:lnTo>
                    <a:lnTo>
                      <a:pt x="317" y="26"/>
                    </a:lnTo>
                    <a:lnTo>
                      <a:pt x="311" y="41"/>
                    </a:lnTo>
                    <a:lnTo>
                      <a:pt x="308" y="55"/>
                    </a:lnTo>
                    <a:lnTo>
                      <a:pt x="305" y="76"/>
                    </a:lnTo>
                    <a:lnTo>
                      <a:pt x="282" y="55"/>
                    </a:lnTo>
                    <a:lnTo>
                      <a:pt x="273" y="49"/>
                    </a:lnTo>
                    <a:lnTo>
                      <a:pt x="265" y="47"/>
                    </a:lnTo>
                    <a:lnTo>
                      <a:pt x="253" y="47"/>
                    </a:lnTo>
                    <a:lnTo>
                      <a:pt x="244" y="49"/>
                    </a:lnTo>
                    <a:lnTo>
                      <a:pt x="230" y="55"/>
                    </a:lnTo>
                    <a:lnTo>
                      <a:pt x="224" y="58"/>
                    </a:lnTo>
                    <a:lnTo>
                      <a:pt x="206" y="67"/>
                    </a:lnTo>
                    <a:lnTo>
                      <a:pt x="174" y="67"/>
                    </a:lnTo>
                    <a:lnTo>
                      <a:pt x="142" y="76"/>
                    </a:lnTo>
                    <a:lnTo>
                      <a:pt x="122" y="79"/>
                    </a:lnTo>
                    <a:lnTo>
                      <a:pt x="105" y="81"/>
                    </a:lnTo>
                    <a:lnTo>
                      <a:pt x="93" y="87"/>
                    </a:lnTo>
                    <a:lnTo>
                      <a:pt x="84" y="96"/>
                    </a:lnTo>
                    <a:lnTo>
                      <a:pt x="17" y="201"/>
                    </a:lnTo>
                    <a:lnTo>
                      <a:pt x="17" y="207"/>
                    </a:lnTo>
                    <a:lnTo>
                      <a:pt x="6" y="207"/>
                    </a:lnTo>
                    <a:lnTo>
                      <a:pt x="0" y="224"/>
                    </a:lnTo>
                    <a:lnTo>
                      <a:pt x="6" y="233"/>
                    </a:lnTo>
                    <a:lnTo>
                      <a:pt x="11" y="236"/>
                    </a:lnTo>
                    <a:lnTo>
                      <a:pt x="14" y="241"/>
                    </a:lnTo>
                    <a:lnTo>
                      <a:pt x="29" y="244"/>
                    </a:lnTo>
                    <a:lnTo>
                      <a:pt x="43" y="247"/>
                    </a:lnTo>
                    <a:lnTo>
                      <a:pt x="49" y="239"/>
                    </a:lnTo>
                    <a:lnTo>
                      <a:pt x="52" y="233"/>
                    </a:lnTo>
                    <a:lnTo>
                      <a:pt x="55" y="221"/>
                    </a:lnTo>
                    <a:lnTo>
                      <a:pt x="70" y="207"/>
                    </a:lnTo>
                    <a:lnTo>
                      <a:pt x="73" y="198"/>
                    </a:lnTo>
                    <a:lnTo>
                      <a:pt x="93" y="175"/>
                    </a:lnTo>
                    <a:lnTo>
                      <a:pt x="96" y="166"/>
                    </a:lnTo>
                    <a:lnTo>
                      <a:pt x="105" y="166"/>
                    </a:lnTo>
                    <a:lnTo>
                      <a:pt x="134" y="143"/>
                    </a:lnTo>
                    <a:lnTo>
                      <a:pt x="160" y="140"/>
                    </a:lnTo>
                    <a:lnTo>
                      <a:pt x="183" y="134"/>
                    </a:lnTo>
                    <a:lnTo>
                      <a:pt x="183" y="140"/>
                    </a:lnTo>
                    <a:lnTo>
                      <a:pt x="139" y="215"/>
                    </a:lnTo>
                    <a:lnTo>
                      <a:pt x="131" y="221"/>
                    </a:lnTo>
                    <a:lnTo>
                      <a:pt x="128" y="227"/>
                    </a:lnTo>
                    <a:lnTo>
                      <a:pt x="128" y="241"/>
                    </a:lnTo>
                    <a:lnTo>
                      <a:pt x="116" y="244"/>
                    </a:lnTo>
                    <a:lnTo>
                      <a:pt x="110" y="253"/>
                    </a:lnTo>
                    <a:lnTo>
                      <a:pt x="73" y="291"/>
                    </a:lnTo>
                    <a:lnTo>
                      <a:pt x="73" y="303"/>
                    </a:lnTo>
                    <a:lnTo>
                      <a:pt x="78" y="317"/>
                    </a:lnTo>
                    <a:lnTo>
                      <a:pt x="84" y="337"/>
                    </a:lnTo>
                    <a:lnTo>
                      <a:pt x="87" y="361"/>
                    </a:lnTo>
                    <a:lnTo>
                      <a:pt x="90" y="364"/>
                    </a:lnTo>
                    <a:lnTo>
                      <a:pt x="93" y="375"/>
                    </a:lnTo>
                    <a:lnTo>
                      <a:pt x="99" y="390"/>
                    </a:lnTo>
                    <a:lnTo>
                      <a:pt x="105" y="399"/>
                    </a:lnTo>
                    <a:lnTo>
                      <a:pt x="113" y="410"/>
                    </a:lnTo>
                    <a:lnTo>
                      <a:pt x="128" y="422"/>
                    </a:lnTo>
                    <a:lnTo>
                      <a:pt x="134" y="428"/>
                    </a:lnTo>
                    <a:lnTo>
                      <a:pt x="137" y="436"/>
                    </a:lnTo>
                    <a:lnTo>
                      <a:pt x="125" y="433"/>
                    </a:lnTo>
                    <a:lnTo>
                      <a:pt x="113" y="436"/>
                    </a:lnTo>
                    <a:lnTo>
                      <a:pt x="102" y="442"/>
                    </a:lnTo>
                    <a:lnTo>
                      <a:pt x="96" y="433"/>
                    </a:lnTo>
                    <a:lnTo>
                      <a:pt x="90" y="428"/>
                    </a:lnTo>
                    <a:lnTo>
                      <a:pt x="84" y="425"/>
                    </a:lnTo>
                    <a:lnTo>
                      <a:pt x="78" y="425"/>
                    </a:lnTo>
                    <a:lnTo>
                      <a:pt x="73" y="428"/>
                    </a:lnTo>
                    <a:lnTo>
                      <a:pt x="64" y="431"/>
                    </a:lnTo>
                    <a:lnTo>
                      <a:pt x="64" y="436"/>
                    </a:lnTo>
                    <a:lnTo>
                      <a:pt x="43" y="463"/>
                    </a:lnTo>
                    <a:lnTo>
                      <a:pt x="55" y="468"/>
                    </a:lnTo>
                    <a:lnTo>
                      <a:pt x="38" y="480"/>
                    </a:lnTo>
                    <a:lnTo>
                      <a:pt x="26" y="492"/>
                    </a:lnTo>
                    <a:lnTo>
                      <a:pt x="17" y="506"/>
                    </a:lnTo>
                    <a:lnTo>
                      <a:pt x="11" y="521"/>
                    </a:lnTo>
                    <a:lnTo>
                      <a:pt x="8" y="535"/>
                    </a:lnTo>
                    <a:lnTo>
                      <a:pt x="8" y="556"/>
                    </a:lnTo>
                    <a:lnTo>
                      <a:pt x="8" y="564"/>
                    </a:lnTo>
                    <a:lnTo>
                      <a:pt x="38" y="561"/>
                    </a:lnTo>
                    <a:lnTo>
                      <a:pt x="43" y="550"/>
                    </a:lnTo>
                    <a:lnTo>
                      <a:pt x="55" y="538"/>
                    </a:lnTo>
                    <a:lnTo>
                      <a:pt x="67" y="529"/>
                    </a:lnTo>
                    <a:lnTo>
                      <a:pt x="81" y="524"/>
                    </a:lnTo>
                    <a:lnTo>
                      <a:pt x="105" y="515"/>
                    </a:lnTo>
                    <a:lnTo>
                      <a:pt x="116" y="512"/>
                    </a:lnTo>
                    <a:lnTo>
                      <a:pt x="119" y="529"/>
                    </a:lnTo>
                    <a:lnTo>
                      <a:pt x="163" y="512"/>
                    </a:lnTo>
                    <a:lnTo>
                      <a:pt x="206" y="506"/>
                    </a:lnTo>
                    <a:lnTo>
                      <a:pt x="215" y="503"/>
                    </a:lnTo>
                    <a:lnTo>
                      <a:pt x="241" y="500"/>
                    </a:lnTo>
                    <a:lnTo>
                      <a:pt x="250" y="495"/>
                    </a:lnTo>
                    <a:lnTo>
                      <a:pt x="262" y="492"/>
                    </a:lnTo>
                    <a:lnTo>
                      <a:pt x="273" y="492"/>
                    </a:lnTo>
                    <a:lnTo>
                      <a:pt x="282" y="492"/>
                    </a:lnTo>
                    <a:lnTo>
                      <a:pt x="291" y="489"/>
                    </a:lnTo>
                    <a:lnTo>
                      <a:pt x="305" y="480"/>
                    </a:lnTo>
                    <a:lnTo>
                      <a:pt x="320" y="468"/>
                    </a:lnTo>
                    <a:lnTo>
                      <a:pt x="329" y="468"/>
                    </a:lnTo>
                    <a:lnTo>
                      <a:pt x="334" y="463"/>
                    </a:lnTo>
                    <a:lnTo>
                      <a:pt x="337" y="457"/>
                    </a:lnTo>
                    <a:lnTo>
                      <a:pt x="340" y="448"/>
                    </a:lnTo>
                    <a:lnTo>
                      <a:pt x="340" y="439"/>
                    </a:lnTo>
                    <a:lnTo>
                      <a:pt x="340" y="428"/>
                    </a:lnTo>
                    <a:lnTo>
                      <a:pt x="372" y="413"/>
                    </a:lnTo>
                    <a:lnTo>
                      <a:pt x="407" y="419"/>
                    </a:lnTo>
                    <a:lnTo>
                      <a:pt x="416" y="436"/>
                    </a:lnTo>
                    <a:lnTo>
                      <a:pt x="431" y="448"/>
                    </a:lnTo>
                    <a:lnTo>
                      <a:pt x="486" y="474"/>
                    </a:lnTo>
                    <a:lnTo>
                      <a:pt x="512" y="486"/>
                    </a:lnTo>
                    <a:lnTo>
                      <a:pt x="541" y="500"/>
                    </a:lnTo>
                    <a:lnTo>
                      <a:pt x="564" y="515"/>
                    </a:lnTo>
                    <a:lnTo>
                      <a:pt x="576" y="515"/>
                    </a:lnTo>
                    <a:lnTo>
                      <a:pt x="591" y="532"/>
                    </a:lnTo>
                    <a:lnTo>
                      <a:pt x="605" y="538"/>
                    </a:lnTo>
                    <a:lnTo>
                      <a:pt x="608" y="553"/>
                    </a:lnTo>
                    <a:lnTo>
                      <a:pt x="617" y="567"/>
                    </a:lnTo>
                    <a:lnTo>
                      <a:pt x="628" y="588"/>
                    </a:lnTo>
                    <a:lnTo>
                      <a:pt x="634" y="591"/>
                    </a:lnTo>
                    <a:lnTo>
                      <a:pt x="640" y="591"/>
                    </a:lnTo>
                    <a:lnTo>
                      <a:pt x="643" y="588"/>
                    </a:lnTo>
                    <a:lnTo>
                      <a:pt x="684" y="564"/>
                    </a:lnTo>
                    <a:lnTo>
                      <a:pt x="681" y="553"/>
                    </a:lnTo>
                    <a:lnTo>
                      <a:pt x="707" y="544"/>
                    </a:lnTo>
                    <a:lnTo>
                      <a:pt x="727" y="538"/>
                    </a:lnTo>
                    <a:lnTo>
                      <a:pt x="745" y="529"/>
                    </a:lnTo>
                    <a:lnTo>
                      <a:pt x="759" y="515"/>
                    </a:lnTo>
                    <a:lnTo>
                      <a:pt x="771" y="503"/>
                    </a:lnTo>
                    <a:lnTo>
                      <a:pt x="789" y="480"/>
                    </a:lnTo>
                    <a:lnTo>
                      <a:pt x="794" y="471"/>
                    </a:lnTo>
                    <a:lnTo>
                      <a:pt x="783" y="46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590"/>
              <p:cNvSpPr>
                <a:spLocks/>
              </p:cNvSpPr>
              <p:nvPr/>
            </p:nvSpPr>
            <p:spPr bwMode="auto">
              <a:xfrm>
                <a:off x="5451757" y="940176"/>
                <a:ext cx="421794" cy="111976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0" y="15"/>
                  </a:cxn>
                  <a:cxn ang="0">
                    <a:pos x="15" y="12"/>
                  </a:cxn>
                  <a:cxn ang="0">
                    <a:pos x="29" y="3"/>
                  </a:cxn>
                  <a:cxn ang="0">
                    <a:pos x="29" y="3"/>
                  </a:cxn>
                  <a:cxn ang="0">
                    <a:pos x="35" y="0"/>
                  </a:cxn>
                  <a:cxn ang="0">
                    <a:pos x="41" y="3"/>
                  </a:cxn>
                  <a:cxn ang="0">
                    <a:pos x="50" y="12"/>
                  </a:cxn>
                  <a:cxn ang="0">
                    <a:pos x="50" y="12"/>
                  </a:cxn>
                  <a:cxn ang="0">
                    <a:pos x="61" y="15"/>
                  </a:cxn>
                  <a:cxn ang="0">
                    <a:pos x="76" y="18"/>
                  </a:cxn>
                  <a:cxn ang="0">
                    <a:pos x="102" y="15"/>
                  </a:cxn>
                  <a:cxn ang="0">
                    <a:pos x="102" y="15"/>
                  </a:cxn>
                  <a:cxn ang="0">
                    <a:pos x="114" y="15"/>
                  </a:cxn>
                  <a:cxn ang="0">
                    <a:pos x="125" y="18"/>
                  </a:cxn>
                  <a:cxn ang="0">
                    <a:pos x="125" y="18"/>
                  </a:cxn>
                  <a:cxn ang="0">
                    <a:pos x="140" y="21"/>
                  </a:cxn>
                  <a:cxn ang="0">
                    <a:pos x="140" y="21"/>
                  </a:cxn>
                  <a:cxn ang="0">
                    <a:pos x="134" y="27"/>
                  </a:cxn>
                  <a:cxn ang="0">
                    <a:pos x="128" y="29"/>
                  </a:cxn>
                  <a:cxn ang="0">
                    <a:pos x="128" y="29"/>
                  </a:cxn>
                  <a:cxn ang="0">
                    <a:pos x="120" y="29"/>
                  </a:cxn>
                  <a:cxn ang="0">
                    <a:pos x="111" y="29"/>
                  </a:cxn>
                  <a:cxn ang="0">
                    <a:pos x="111" y="29"/>
                  </a:cxn>
                  <a:cxn ang="0">
                    <a:pos x="96" y="29"/>
                  </a:cxn>
                  <a:cxn ang="0">
                    <a:pos x="79" y="32"/>
                  </a:cxn>
                  <a:cxn ang="0">
                    <a:pos x="79" y="32"/>
                  </a:cxn>
                  <a:cxn ang="0">
                    <a:pos x="56" y="38"/>
                  </a:cxn>
                  <a:cxn ang="0">
                    <a:pos x="44" y="38"/>
                  </a:cxn>
                  <a:cxn ang="0">
                    <a:pos x="32" y="35"/>
                  </a:cxn>
                  <a:cxn ang="0">
                    <a:pos x="32" y="35"/>
                  </a:cxn>
                  <a:cxn ang="0">
                    <a:pos x="21" y="29"/>
                  </a:cxn>
                  <a:cxn ang="0">
                    <a:pos x="12" y="24"/>
                  </a:cxn>
                  <a:cxn ang="0">
                    <a:pos x="0" y="15"/>
                  </a:cxn>
                </a:cxnLst>
                <a:rect l="0" t="0" r="r" b="b"/>
                <a:pathLst>
                  <a:path w="140" h="38">
                    <a:moveTo>
                      <a:pt x="0" y="15"/>
                    </a:moveTo>
                    <a:lnTo>
                      <a:pt x="0" y="15"/>
                    </a:lnTo>
                    <a:lnTo>
                      <a:pt x="15" y="12"/>
                    </a:lnTo>
                    <a:lnTo>
                      <a:pt x="29" y="3"/>
                    </a:lnTo>
                    <a:lnTo>
                      <a:pt x="29" y="3"/>
                    </a:lnTo>
                    <a:lnTo>
                      <a:pt x="35" y="0"/>
                    </a:lnTo>
                    <a:lnTo>
                      <a:pt x="41" y="3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61" y="15"/>
                    </a:lnTo>
                    <a:lnTo>
                      <a:pt x="76" y="18"/>
                    </a:lnTo>
                    <a:lnTo>
                      <a:pt x="102" y="15"/>
                    </a:lnTo>
                    <a:lnTo>
                      <a:pt x="102" y="15"/>
                    </a:lnTo>
                    <a:lnTo>
                      <a:pt x="114" y="15"/>
                    </a:lnTo>
                    <a:lnTo>
                      <a:pt x="125" y="18"/>
                    </a:lnTo>
                    <a:lnTo>
                      <a:pt x="125" y="18"/>
                    </a:lnTo>
                    <a:lnTo>
                      <a:pt x="140" y="21"/>
                    </a:lnTo>
                    <a:lnTo>
                      <a:pt x="140" y="21"/>
                    </a:lnTo>
                    <a:lnTo>
                      <a:pt x="134" y="27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0" y="29"/>
                    </a:lnTo>
                    <a:lnTo>
                      <a:pt x="111" y="29"/>
                    </a:lnTo>
                    <a:lnTo>
                      <a:pt x="111" y="29"/>
                    </a:lnTo>
                    <a:lnTo>
                      <a:pt x="96" y="29"/>
                    </a:lnTo>
                    <a:lnTo>
                      <a:pt x="79" y="32"/>
                    </a:lnTo>
                    <a:lnTo>
                      <a:pt x="79" y="32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5"/>
                    </a:lnTo>
                    <a:lnTo>
                      <a:pt x="32" y="35"/>
                    </a:lnTo>
                    <a:lnTo>
                      <a:pt x="21" y="29"/>
                    </a:lnTo>
                    <a:lnTo>
                      <a:pt x="12" y="24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>
                  <a:latin typeface="Calibri" charset="0"/>
                  <a:ea typeface="+mn-ea"/>
                </a:endParaRPr>
              </a:p>
            </p:txBody>
          </p:sp>
          <p:sp>
            <p:nvSpPr>
              <p:cNvPr id="54" name="Freeform 591"/>
              <p:cNvSpPr>
                <a:spLocks noEditPoints="1"/>
              </p:cNvSpPr>
              <p:nvPr/>
            </p:nvSpPr>
            <p:spPr bwMode="auto">
              <a:xfrm>
                <a:off x="5690605" y="879098"/>
                <a:ext cx="299826" cy="341016"/>
              </a:xfrm>
              <a:custGeom>
                <a:avLst/>
                <a:gdLst>
                  <a:gd name="T0" fmla="*/ 2147483647 w 99"/>
                  <a:gd name="T1" fmla="*/ 2147483647 h 113"/>
                  <a:gd name="T2" fmla="*/ 2147483647 w 99"/>
                  <a:gd name="T3" fmla="*/ 2147483647 h 113"/>
                  <a:gd name="T4" fmla="*/ 2147483647 w 99"/>
                  <a:gd name="T5" fmla="*/ 2147483647 h 113"/>
                  <a:gd name="T6" fmla="*/ 2147483647 w 99"/>
                  <a:gd name="T7" fmla="*/ 0 h 113"/>
                  <a:gd name="T8" fmla="*/ 2147483647 w 99"/>
                  <a:gd name="T9" fmla="*/ 2147483647 h 113"/>
                  <a:gd name="T10" fmla="*/ 2147483647 w 99"/>
                  <a:gd name="T11" fmla="*/ 2147483647 h 113"/>
                  <a:gd name="T12" fmla="*/ 2147483647 w 99"/>
                  <a:gd name="T13" fmla="*/ 2147483647 h 113"/>
                  <a:gd name="T14" fmla="*/ 2147483647 w 99"/>
                  <a:gd name="T15" fmla="*/ 2147483647 h 113"/>
                  <a:gd name="T16" fmla="*/ 0 w 99"/>
                  <a:gd name="T17" fmla="*/ 2147483647 h 113"/>
                  <a:gd name="T18" fmla="*/ 2147483647 w 99"/>
                  <a:gd name="T19" fmla="*/ 2147483647 h 113"/>
                  <a:gd name="T20" fmla="*/ 2147483647 w 99"/>
                  <a:gd name="T21" fmla="*/ 2147483647 h 113"/>
                  <a:gd name="T22" fmla="*/ 2147483647 w 99"/>
                  <a:gd name="T23" fmla="*/ 2147483647 h 113"/>
                  <a:gd name="T24" fmla="*/ 2147483647 w 99"/>
                  <a:gd name="T25" fmla="*/ 2147483647 h 113"/>
                  <a:gd name="T26" fmla="*/ 2147483647 w 99"/>
                  <a:gd name="T27" fmla="*/ 2147483647 h 113"/>
                  <a:gd name="T28" fmla="*/ 2147483647 w 99"/>
                  <a:gd name="T29" fmla="*/ 2147483647 h 113"/>
                  <a:gd name="T30" fmla="*/ 2147483647 w 99"/>
                  <a:gd name="T31" fmla="*/ 2147483647 h 113"/>
                  <a:gd name="T32" fmla="*/ 2147483647 w 99"/>
                  <a:gd name="T33" fmla="*/ 2147483647 h 113"/>
                  <a:gd name="T34" fmla="*/ 2147483647 w 99"/>
                  <a:gd name="T35" fmla="*/ 2147483647 h 113"/>
                  <a:gd name="T36" fmla="*/ 2147483647 w 99"/>
                  <a:gd name="T37" fmla="*/ 2147483647 h 113"/>
                  <a:gd name="T38" fmla="*/ 2147483647 w 99"/>
                  <a:gd name="T39" fmla="*/ 2147483647 h 113"/>
                  <a:gd name="T40" fmla="*/ 2147483647 w 99"/>
                  <a:gd name="T41" fmla="*/ 2147483647 h 113"/>
                  <a:gd name="T42" fmla="*/ 2147483647 w 99"/>
                  <a:gd name="T43" fmla="*/ 2147483647 h 113"/>
                  <a:gd name="T44" fmla="*/ 2147483647 w 99"/>
                  <a:gd name="T45" fmla="*/ 2147483647 h 113"/>
                  <a:gd name="T46" fmla="*/ 2147483647 w 99"/>
                  <a:gd name="T47" fmla="*/ 2147483647 h 113"/>
                  <a:gd name="T48" fmla="*/ 2147483647 w 99"/>
                  <a:gd name="T49" fmla="*/ 2147483647 h 113"/>
                  <a:gd name="T50" fmla="*/ 2147483647 w 99"/>
                  <a:gd name="T51" fmla="*/ 2147483647 h 113"/>
                  <a:gd name="T52" fmla="*/ 2147483647 w 99"/>
                  <a:gd name="T53" fmla="*/ 2147483647 h 113"/>
                  <a:gd name="T54" fmla="*/ 2147483647 w 99"/>
                  <a:gd name="T55" fmla="*/ 2147483647 h 11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9"/>
                  <a:gd name="T85" fmla="*/ 0 h 113"/>
                  <a:gd name="T86" fmla="*/ 99 w 99"/>
                  <a:gd name="T87" fmla="*/ 113 h 11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9" h="113">
                    <a:moveTo>
                      <a:pt x="73" y="38"/>
                    </a:moveTo>
                    <a:lnTo>
                      <a:pt x="70" y="29"/>
                    </a:lnTo>
                    <a:lnTo>
                      <a:pt x="64" y="12"/>
                    </a:lnTo>
                    <a:lnTo>
                      <a:pt x="38" y="0"/>
                    </a:lnTo>
                    <a:lnTo>
                      <a:pt x="41" y="17"/>
                    </a:lnTo>
                    <a:lnTo>
                      <a:pt x="35" y="32"/>
                    </a:lnTo>
                    <a:lnTo>
                      <a:pt x="26" y="49"/>
                    </a:lnTo>
                    <a:lnTo>
                      <a:pt x="6" y="79"/>
                    </a:lnTo>
                    <a:lnTo>
                      <a:pt x="0" y="113"/>
                    </a:lnTo>
                    <a:lnTo>
                      <a:pt x="3" y="108"/>
                    </a:lnTo>
                    <a:lnTo>
                      <a:pt x="17" y="102"/>
                    </a:lnTo>
                    <a:lnTo>
                      <a:pt x="32" y="96"/>
                    </a:lnTo>
                    <a:lnTo>
                      <a:pt x="46" y="93"/>
                    </a:lnTo>
                    <a:lnTo>
                      <a:pt x="58" y="90"/>
                    </a:lnTo>
                    <a:lnTo>
                      <a:pt x="64" y="90"/>
                    </a:lnTo>
                    <a:lnTo>
                      <a:pt x="81" y="79"/>
                    </a:lnTo>
                    <a:lnTo>
                      <a:pt x="93" y="61"/>
                    </a:lnTo>
                    <a:lnTo>
                      <a:pt x="99" y="41"/>
                    </a:lnTo>
                    <a:lnTo>
                      <a:pt x="73" y="38"/>
                    </a:lnTo>
                    <a:close/>
                    <a:moveTo>
                      <a:pt x="79" y="47"/>
                    </a:moveTo>
                    <a:lnTo>
                      <a:pt x="79" y="47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Calibri" charset="0"/>
                  <a:ea typeface="+mn-ea"/>
                </a:endParaRPr>
              </a:p>
            </p:txBody>
          </p:sp>
          <p:sp>
            <p:nvSpPr>
              <p:cNvPr id="21557" name="Freeform 592"/>
              <p:cNvSpPr>
                <a:spLocks/>
              </p:cNvSpPr>
              <p:nvPr/>
            </p:nvSpPr>
            <p:spPr bwMode="auto">
              <a:xfrm>
                <a:off x="5768176" y="982734"/>
                <a:ext cx="150727" cy="78378"/>
              </a:xfrm>
              <a:custGeom>
                <a:avLst/>
                <a:gdLst>
                  <a:gd name="T0" fmla="*/ 2147483647 w 50"/>
                  <a:gd name="T1" fmla="*/ 2147483647 h 26"/>
                  <a:gd name="T2" fmla="*/ 2147483647 w 50"/>
                  <a:gd name="T3" fmla="*/ 2147483647 h 26"/>
                  <a:gd name="T4" fmla="*/ 2147483647 w 50"/>
                  <a:gd name="T5" fmla="*/ 2147483647 h 26"/>
                  <a:gd name="T6" fmla="*/ 2147483647 w 50"/>
                  <a:gd name="T7" fmla="*/ 2147483647 h 26"/>
                  <a:gd name="T8" fmla="*/ 2147483647 w 50"/>
                  <a:gd name="T9" fmla="*/ 2147483647 h 26"/>
                  <a:gd name="T10" fmla="*/ 2147483647 w 50"/>
                  <a:gd name="T11" fmla="*/ 2147483647 h 26"/>
                  <a:gd name="T12" fmla="*/ 2147483647 w 50"/>
                  <a:gd name="T13" fmla="*/ 2147483647 h 26"/>
                  <a:gd name="T14" fmla="*/ 2147483647 w 50"/>
                  <a:gd name="T15" fmla="*/ 2147483647 h 26"/>
                  <a:gd name="T16" fmla="*/ 2147483647 w 50"/>
                  <a:gd name="T17" fmla="*/ 2147483647 h 26"/>
                  <a:gd name="T18" fmla="*/ 2147483647 w 50"/>
                  <a:gd name="T19" fmla="*/ 2147483647 h 26"/>
                  <a:gd name="T20" fmla="*/ 2147483647 w 50"/>
                  <a:gd name="T21" fmla="*/ 0 h 26"/>
                  <a:gd name="T22" fmla="*/ 2147483647 w 50"/>
                  <a:gd name="T23" fmla="*/ 0 h 26"/>
                  <a:gd name="T24" fmla="*/ 2147483647 w 50"/>
                  <a:gd name="T25" fmla="*/ 0 h 26"/>
                  <a:gd name="T26" fmla="*/ 2147483647 w 50"/>
                  <a:gd name="T27" fmla="*/ 0 h 26"/>
                  <a:gd name="T28" fmla="*/ 2147483647 w 50"/>
                  <a:gd name="T29" fmla="*/ 2147483647 h 26"/>
                  <a:gd name="T30" fmla="*/ 2147483647 w 50"/>
                  <a:gd name="T31" fmla="*/ 2147483647 h 26"/>
                  <a:gd name="T32" fmla="*/ 2147483647 w 50"/>
                  <a:gd name="T33" fmla="*/ 2147483647 h 26"/>
                  <a:gd name="T34" fmla="*/ 2147483647 w 50"/>
                  <a:gd name="T35" fmla="*/ 2147483647 h 26"/>
                  <a:gd name="T36" fmla="*/ 2147483647 w 50"/>
                  <a:gd name="T37" fmla="*/ 2147483647 h 26"/>
                  <a:gd name="T38" fmla="*/ 2147483647 w 50"/>
                  <a:gd name="T39" fmla="*/ 2147483647 h 26"/>
                  <a:gd name="T40" fmla="*/ 2147483647 w 50"/>
                  <a:gd name="T41" fmla="*/ 2147483647 h 26"/>
                  <a:gd name="T42" fmla="*/ 2147483647 w 50"/>
                  <a:gd name="T43" fmla="*/ 2147483647 h 26"/>
                  <a:gd name="T44" fmla="*/ 2147483647 w 50"/>
                  <a:gd name="T45" fmla="*/ 2147483647 h 26"/>
                  <a:gd name="T46" fmla="*/ 2147483647 w 50"/>
                  <a:gd name="T47" fmla="*/ 2147483647 h 26"/>
                  <a:gd name="T48" fmla="*/ 2147483647 w 50"/>
                  <a:gd name="T49" fmla="*/ 2147483647 h 26"/>
                  <a:gd name="T50" fmla="*/ 0 w 50"/>
                  <a:gd name="T51" fmla="*/ 2147483647 h 26"/>
                  <a:gd name="T52" fmla="*/ 0 w 50"/>
                  <a:gd name="T53" fmla="*/ 2147483647 h 26"/>
                  <a:gd name="T54" fmla="*/ 2147483647 w 50"/>
                  <a:gd name="T55" fmla="*/ 2147483647 h 26"/>
                  <a:gd name="T56" fmla="*/ 2147483647 w 50"/>
                  <a:gd name="T57" fmla="*/ 2147483647 h 2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0"/>
                  <a:gd name="T88" fmla="*/ 0 h 26"/>
                  <a:gd name="T89" fmla="*/ 50 w 50"/>
                  <a:gd name="T90" fmla="*/ 26 h 2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0" h="26">
                    <a:moveTo>
                      <a:pt x="9" y="14"/>
                    </a:moveTo>
                    <a:lnTo>
                      <a:pt x="9" y="14"/>
                    </a:lnTo>
                    <a:lnTo>
                      <a:pt x="18" y="17"/>
                    </a:lnTo>
                    <a:lnTo>
                      <a:pt x="29" y="23"/>
                    </a:lnTo>
                    <a:lnTo>
                      <a:pt x="38" y="26"/>
                    </a:lnTo>
                    <a:lnTo>
                      <a:pt x="44" y="26"/>
                    </a:lnTo>
                    <a:lnTo>
                      <a:pt x="47" y="23"/>
                    </a:lnTo>
                    <a:lnTo>
                      <a:pt x="50" y="14"/>
                    </a:lnTo>
                    <a:lnTo>
                      <a:pt x="50" y="6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38" y="6"/>
                    </a:lnTo>
                    <a:lnTo>
                      <a:pt x="35" y="9"/>
                    </a:lnTo>
                    <a:lnTo>
                      <a:pt x="32" y="12"/>
                    </a:lnTo>
                    <a:lnTo>
                      <a:pt x="23" y="9"/>
                    </a:lnTo>
                    <a:lnTo>
                      <a:pt x="15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0" y="17"/>
                    </a:lnTo>
                    <a:lnTo>
                      <a:pt x="9" y="1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6" name="Tåre 105"/>
            <p:cNvSpPr/>
            <p:nvPr/>
          </p:nvSpPr>
          <p:spPr bwMode="auto">
            <a:xfrm rot="18900000">
              <a:off x="3752950" y="4265477"/>
              <a:ext cx="1809650" cy="1817823"/>
            </a:xfrm>
            <a:prstGeom prst="teardrop">
              <a:avLst/>
            </a:prstGeom>
            <a:gradFill flip="none" rotWithShape="1">
              <a:gsLst>
                <a:gs pos="31000">
                  <a:schemeClr val="bg2">
                    <a:alpha val="21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20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7" name="Tåre 106"/>
            <p:cNvSpPr/>
            <p:nvPr/>
          </p:nvSpPr>
          <p:spPr bwMode="auto">
            <a:xfrm rot="18900000">
              <a:off x="3869092" y="4237038"/>
              <a:ext cx="1579374" cy="1586506"/>
            </a:xfrm>
            <a:prstGeom prst="teardrop">
              <a:avLst/>
            </a:prstGeom>
            <a:gradFill flip="none" rotWithShape="1">
              <a:gsLst>
                <a:gs pos="4500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5000"/>
                  </a:srgbClr>
                </a:gs>
              </a:gsLst>
              <a:lin ang="189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Font typeface="Calibri" charset="0"/>
                <a:buAutoNum type="arabicPeriod"/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48" name="Måne 107"/>
            <p:cNvSpPr/>
            <p:nvPr/>
          </p:nvSpPr>
          <p:spPr bwMode="auto">
            <a:xfrm rot="16045033">
              <a:off x="4342576" y="4954008"/>
              <a:ext cx="630396" cy="1564171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8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21553" name="TextBox 15"/>
            <p:cNvSpPr txBox="1">
              <a:spLocks noChangeArrowheads="1"/>
            </p:cNvSpPr>
            <p:nvPr/>
          </p:nvSpPr>
          <p:spPr bwMode="auto">
            <a:xfrm>
              <a:off x="3500438" y="4745038"/>
              <a:ext cx="2298700" cy="1041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algn="ctr" eaLnBrk="1" hangingPunct="1"/>
              <a:r>
                <a:rPr lang="en-GB" sz="1100" b="1">
                  <a:solidFill>
                    <a:schemeClr val="bg2"/>
                  </a:solidFill>
                  <a:latin typeface="Arial" charset="0"/>
                </a:rPr>
                <a:t>Barriers to entry</a:t>
              </a:r>
            </a:p>
            <a:p>
              <a:pPr algn="ctr"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1100" noProof="1">
                  <a:solidFill>
                    <a:schemeClr val="bg2"/>
                  </a:solidFill>
                  <a:cs typeface="Arial" charset="0"/>
                </a:rPr>
                <a:t>This is an example text</a:t>
              </a:r>
            </a:p>
            <a:p>
              <a:pPr algn="ctr"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1100" noProof="1">
                  <a:solidFill>
                    <a:schemeClr val="bg2"/>
                  </a:solidFill>
                  <a:cs typeface="Arial" charset="0"/>
                </a:rPr>
                <a:t>Please replace with own text</a:t>
              </a:r>
            </a:p>
            <a:p>
              <a:pPr algn="ctr" eaLnBrk="1" hangingPunct="1">
                <a:spcBef>
                  <a:spcPct val="20000"/>
                </a:spcBef>
                <a:buFont typeface="Arial" charset="0"/>
                <a:buChar char="•"/>
              </a:pPr>
              <a:r>
                <a:rPr lang="en-GB" sz="1100" noProof="1">
                  <a:solidFill>
                    <a:schemeClr val="bg2"/>
                  </a:solidFill>
                  <a:cs typeface="Arial" charset="0"/>
                </a:rPr>
                <a:t>This is an example text. </a:t>
              </a:r>
            </a:p>
            <a:p>
              <a:pPr eaLnBrk="1" hangingPunct="1"/>
              <a:endParaRPr lang="nb-NO" sz="1100">
                <a:solidFill>
                  <a:srgbClr val="353637"/>
                </a:solidFill>
                <a:latin typeface="Arial" charset="0"/>
              </a:endParaRPr>
            </a:p>
            <a:p>
              <a:pPr eaLnBrk="1" hangingPunct="1"/>
              <a:endParaRPr lang="nb-NO">
                <a:latin typeface="Arial" charset="0"/>
              </a:endParaRPr>
            </a:p>
          </p:txBody>
        </p:sp>
      </p:grpSp>
      <p:sp>
        <p:nvSpPr>
          <p:cNvPr id="21509" name="Rounded Rectangle 44"/>
          <p:cNvSpPr>
            <a:spLocks noChangeArrowheads="1"/>
          </p:cNvSpPr>
          <p:nvPr/>
        </p:nvSpPr>
        <p:spPr bwMode="auto">
          <a:xfrm rot="16200000" flipH="1">
            <a:off x="1863726" y="3433762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21510" name="Rounded Rectangle 38"/>
          <p:cNvSpPr>
            <a:spLocks noChangeArrowheads="1"/>
          </p:cNvSpPr>
          <p:nvPr/>
        </p:nvSpPr>
        <p:spPr bwMode="auto">
          <a:xfrm rot="16200000" flipH="1">
            <a:off x="1863726" y="2154237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1" name="Round Same Side Corner Rectangle 80"/>
          <p:cNvSpPr/>
          <p:nvPr/>
        </p:nvSpPr>
        <p:spPr>
          <a:xfrm>
            <a:off x="836613" y="319246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82" name="Round Same Side Corner Rectangle 81"/>
          <p:cNvSpPr/>
          <p:nvPr/>
        </p:nvSpPr>
        <p:spPr>
          <a:xfrm>
            <a:off x="836613" y="4473575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21513" name="Rounded Rectangle 27"/>
          <p:cNvSpPr>
            <a:spLocks noChangeArrowheads="1"/>
          </p:cNvSpPr>
          <p:nvPr/>
        </p:nvSpPr>
        <p:spPr bwMode="auto">
          <a:xfrm rot="16200000" flipH="1">
            <a:off x="1863726" y="866775"/>
            <a:ext cx="1079500" cy="3133725"/>
          </a:xfrm>
          <a:prstGeom prst="roundRect">
            <a:avLst>
              <a:gd name="adj" fmla="val 7870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/>
            <a:endParaRPr lang="nb-NO">
              <a:solidFill>
                <a:srgbClr val="FFFFFF"/>
              </a:solidFill>
            </a:endParaRPr>
          </a:p>
        </p:txBody>
      </p:sp>
      <p:sp>
        <p:nvSpPr>
          <p:cNvPr id="84" name="Round Same Side Corner Rectangle 83"/>
          <p:cNvSpPr/>
          <p:nvPr/>
        </p:nvSpPr>
        <p:spPr>
          <a:xfrm>
            <a:off x="836613" y="1878013"/>
            <a:ext cx="3133725" cy="31432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21515" name="Rektangel 76"/>
          <p:cNvSpPr>
            <a:spLocks noChangeArrowheads="1"/>
          </p:cNvSpPr>
          <p:nvPr/>
        </p:nvSpPr>
        <p:spPr bwMode="auto">
          <a:xfrm>
            <a:off x="969963" y="190658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1516" name="Rektangel 76"/>
          <p:cNvSpPr>
            <a:spLocks noChangeArrowheads="1"/>
          </p:cNvSpPr>
          <p:nvPr/>
        </p:nvSpPr>
        <p:spPr bwMode="auto">
          <a:xfrm>
            <a:off x="969963" y="3209925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1517" name="Rektangel 76"/>
          <p:cNvSpPr>
            <a:spLocks noChangeArrowheads="1"/>
          </p:cNvSpPr>
          <p:nvPr/>
        </p:nvSpPr>
        <p:spPr bwMode="auto">
          <a:xfrm>
            <a:off x="969963" y="4491038"/>
            <a:ext cx="2435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>
              <a:spcAft>
                <a:spcPts val="600"/>
              </a:spcAft>
            </a:pPr>
            <a:r>
              <a:rPr 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21518" name="Tekstboks 72"/>
          <p:cNvSpPr txBox="1">
            <a:spLocks noChangeArrowheads="1"/>
          </p:cNvSpPr>
          <p:nvPr/>
        </p:nvSpPr>
        <p:spPr bwMode="auto">
          <a:xfrm>
            <a:off x="1739900" y="2374900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21519" name="Tekstboks 72"/>
          <p:cNvSpPr txBox="1">
            <a:spLocks noChangeArrowheads="1"/>
          </p:cNvSpPr>
          <p:nvPr/>
        </p:nvSpPr>
        <p:spPr bwMode="auto">
          <a:xfrm>
            <a:off x="1739900" y="3660775"/>
            <a:ext cx="21240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sp>
        <p:nvSpPr>
          <p:cNvPr id="21520" name="Tekstboks 72"/>
          <p:cNvSpPr txBox="1">
            <a:spLocks noChangeArrowheads="1"/>
          </p:cNvSpPr>
          <p:nvPr/>
        </p:nvSpPr>
        <p:spPr bwMode="auto">
          <a:xfrm>
            <a:off x="1739900" y="4941888"/>
            <a:ext cx="21240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-109" charset="0"/>
                <a:ea typeface="ＭＳ Ｐゴシック" pitchFamily="-109" charset="-128"/>
              </a:defRPr>
            </a:lvl9pPr>
          </a:lstStyle>
          <a:p>
            <a:pPr algn="just" eaLnBrk="1" hangingPunct="1"/>
            <a:r>
              <a:rPr lang="en-US" sz="1100">
                <a:solidFill>
                  <a:srgbClr val="000000"/>
                </a:solidFill>
              </a:rPr>
              <a:t>This is an example text. Example text. Go ahead and replace it.</a:t>
            </a:r>
          </a:p>
          <a:p>
            <a:pPr algn="just" eaLnBrk="1" hangingPunct="1"/>
            <a:endParaRPr lang="da-DK" sz="1100">
              <a:solidFill>
                <a:srgbClr val="000000"/>
              </a:solidFill>
            </a:endParaRPr>
          </a:p>
        </p:txBody>
      </p:sp>
      <p:grpSp>
        <p:nvGrpSpPr>
          <p:cNvPr id="21521" name="Group 44"/>
          <p:cNvGrpSpPr>
            <a:grpSpLocks/>
          </p:cNvGrpSpPr>
          <p:nvPr/>
        </p:nvGrpSpPr>
        <p:grpSpPr bwMode="auto">
          <a:xfrm>
            <a:off x="981075" y="2362200"/>
            <a:ext cx="403225" cy="403225"/>
            <a:chOff x="3294062" y="1631156"/>
            <a:chExt cx="460375" cy="460375"/>
          </a:xfrm>
        </p:grpSpPr>
        <p:sp>
          <p:nvSpPr>
            <p:cNvPr id="92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1529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1</a:t>
              </a:r>
            </a:p>
          </p:txBody>
        </p:sp>
      </p:grpSp>
      <p:grpSp>
        <p:nvGrpSpPr>
          <p:cNvPr id="21522" name="Group 44"/>
          <p:cNvGrpSpPr>
            <a:grpSpLocks/>
          </p:cNvGrpSpPr>
          <p:nvPr/>
        </p:nvGrpSpPr>
        <p:grpSpPr bwMode="auto">
          <a:xfrm>
            <a:off x="981075" y="3660775"/>
            <a:ext cx="403225" cy="403225"/>
            <a:chOff x="3294062" y="1631156"/>
            <a:chExt cx="460375" cy="460375"/>
          </a:xfrm>
        </p:grpSpPr>
        <p:sp>
          <p:nvSpPr>
            <p:cNvPr id="95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1527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2</a:t>
              </a:r>
            </a:p>
          </p:txBody>
        </p:sp>
      </p:grpSp>
      <p:grpSp>
        <p:nvGrpSpPr>
          <p:cNvPr id="21523" name="Group 44"/>
          <p:cNvGrpSpPr>
            <a:grpSpLocks/>
          </p:cNvGrpSpPr>
          <p:nvPr/>
        </p:nvGrpSpPr>
        <p:grpSpPr bwMode="auto">
          <a:xfrm>
            <a:off x="981075" y="4941888"/>
            <a:ext cx="403225" cy="403225"/>
            <a:chOff x="3294062" y="1631156"/>
            <a:chExt cx="460375" cy="460375"/>
          </a:xfrm>
        </p:grpSpPr>
        <p:sp>
          <p:nvSpPr>
            <p:cNvPr id="98" name="Ellipse 53"/>
            <p:cNvSpPr>
              <a:spLocks noChangeArrowheads="1"/>
            </p:cNvSpPr>
            <p:nvPr/>
          </p:nvSpPr>
          <p:spPr bwMode="auto">
            <a:xfrm>
              <a:off x="3294062" y="1631156"/>
              <a:ext cx="460375" cy="460375"/>
            </a:xfrm>
            <a:prstGeom prst="ellipse">
              <a:avLst/>
            </a:prstGeom>
            <a:solidFill>
              <a:srgbClr val="FFFFFF">
                <a:alpha val="6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1525" name="Tekstboks 54"/>
            <p:cNvSpPr txBox="1">
              <a:spLocks noChangeArrowheads="1"/>
            </p:cNvSpPr>
            <p:nvPr/>
          </p:nvSpPr>
          <p:spPr bwMode="auto">
            <a:xfrm>
              <a:off x="3384687" y="1638406"/>
              <a:ext cx="344375" cy="42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9" charset="0"/>
                  <a:ea typeface="ＭＳ Ｐゴシック" pitchFamily="-109" charset="-128"/>
                </a:defRPr>
              </a:lvl9pPr>
            </a:lstStyle>
            <a:p>
              <a:pPr eaLnBrk="1" hangingPunct="1"/>
              <a:r>
                <a:rPr lang="da-DK">
                  <a:solidFill>
                    <a:srgbClr val="151616"/>
                  </a:solidFill>
                </a:rPr>
                <a:t>3</a:t>
              </a:r>
            </a:p>
          </p:txBody>
        </p: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552972"/>
          </a:xfrm>
        </p:spPr>
        <p:txBody>
          <a:bodyPr/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RTERS 5 FORC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9</a:t>
            </a:fld>
            <a:r>
              <a:rPr lang="en-US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959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7</TotalTime>
  <Words>776</Words>
  <Application>Microsoft Office PowerPoint</Application>
  <PresentationFormat>On-screen Show (4:3)</PresentationFormat>
  <Paragraphs>190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PORTERS 5 FORCES</vt:lpstr>
      <vt:lpstr>PORTERS 5 FORCES</vt:lpstr>
      <vt:lpstr>PORTERS 5 FORCES</vt:lpstr>
      <vt:lpstr>PORTERS 5 FORCES</vt:lpstr>
      <vt:lpstr>PORTERS 5 FORCES</vt:lpstr>
      <vt:lpstr>PORTERS 5 FORCES</vt:lpstr>
      <vt:lpstr>PORTERS 5 FORCES</vt:lpstr>
      <vt:lpstr>PORTERS 5 FORCES</vt:lpstr>
      <vt:lpstr>PORTERS 5 FORCES</vt:lpstr>
    </vt:vector>
  </TitlesOfParts>
  <Company>Pahlawan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us Purwanto</dc:creator>
  <cp:lastModifiedBy>Defi</cp:lastModifiedBy>
  <cp:revision>81</cp:revision>
  <dcterms:created xsi:type="dcterms:W3CDTF">2013-10-31T11:03:13Z</dcterms:created>
  <dcterms:modified xsi:type="dcterms:W3CDTF">2013-12-07T07:09:55Z</dcterms:modified>
</cp:coreProperties>
</file>